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8"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1873"/>
    <a:srgbClr val="B1810B"/>
    <a:srgbClr val="DDC69A"/>
    <a:srgbClr val="CFB991"/>
    <a:srgbClr val="035FA0"/>
    <a:srgbClr val="D23A43"/>
    <a:srgbClr val="10253F"/>
    <a:srgbClr val="DEC699"/>
    <a:srgbClr val="1F497D"/>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97A913-B168-4258-AB96-4391829BB2F4}" v="546" dt="2023-03-01T16:58:56.259"/>
    <p1510:client id="{2045E9EB-D44E-4C98-A014-63B849D492F7}" v="710" dt="2023-03-02T19:31:32.158"/>
    <p1510:client id="{227E4103-E2C0-4525-BD11-85EF70DFD25E}" v="6" dt="2023-03-03T03:22:02.431"/>
    <p1510:client id="{247820D3-C3F0-4C80-8B16-19DA714D2E7F}" v="45" dt="2023-03-02T21:26:49.257"/>
    <p1510:client id="{28A02045-3B90-45CD-9E40-A2D3EF8B7C92}" v="10" dt="2023-03-02T02:43:20.243"/>
    <p1510:client id="{6C85C5A7-9F42-42DA-A192-DCBA86DE60FA}" v="53" dt="2023-03-01T22:25:54.604"/>
    <p1510:client id="{7A669802-9B53-4C32-B398-3C0DF010205A}" v="592" dt="2023-03-02T03:41:02.008"/>
    <p1510:client id="{8F478FCE-9814-4B21-B14A-99EFE521EB97}" v="2153" dt="2023-03-01T22:35:52.548"/>
    <p1510:client id="{9085140A-CDA7-4C08-8F0B-424C6AFE96F9}" v="5" dt="2023-03-02T02:50:28.164"/>
    <p1510:client id="{A5948B60-0354-4E40-A030-82F4E49DB1F6}" v="472" dt="2023-03-02T02:39:50.200"/>
    <p1510:client id="{B0E59318-388B-48D5-9A8D-EE174BE3D81A}" v="114" dt="2023-03-02T04:31:04.906"/>
    <p1510:client id="{D3EEC6D0-BB96-42B0-A365-A90D2BF71628}" v="815" dt="2023-03-02T02:58:11.966"/>
    <p1510:client id="{F5C73BD2-1710-4921-95BA-7D2ECA540F5E}" v="708" dt="2023-03-03T00:06:06.5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900" autoAdjust="0"/>
  </p:normalViewPr>
  <p:slideViewPr>
    <p:cSldViewPr snapToGrid="0">
      <p:cViewPr varScale="1">
        <p:scale>
          <a:sx n="22" d="100"/>
          <a:sy n="22" d="100"/>
        </p:scale>
        <p:origin x="204" y="32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hulika Chilla" clId="Web-{F5C73BD2-1710-4921-95BA-7D2ECA540F5E}"/>
    <pc:docChg chg="modSld">
      <pc:chgData name="Madhulika Chilla" userId="" providerId="" clId="Web-{F5C73BD2-1710-4921-95BA-7D2ECA540F5E}" dt="2023-03-02T23:42:04.591" v="436" actId="1076"/>
      <pc:docMkLst>
        <pc:docMk/>
      </pc:docMkLst>
      <pc:sldChg chg="addSp delSp modSp modNotes">
        <pc:chgData name="Madhulika Chilla" userId="" providerId="" clId="Web-{F5C73BD2-1710-4921-95BA-7D2ECA540F5E}" dt="2023-03-02T23:42:04.591" v="436" actId="1076"/>
        <pc:sldMkLst>
          <pc:docMk/>
          <pc:sldMk cId="3360724782" sldId="258"/>
        </pc:sldMkLst>
        <pc:spChg chg="mod">
          <ac:chgData name="Madhulika Chilla" userId="" providerId="" clId="Web-{F5C73BD2-1710-4921-95BA-7D2ECA540F5E}" dt="2023-03-02T22:56:26.271" v="140" actId="1076"/>
          <ac:spMkLst>
            <pc:docMk/>
            <pc:sldMk cId="3360724782" sldId="258"/>
            <ac:spMk id="6" creationId="{5DFE5535-A372-B78E-E419-DE43D7532325}"/>
          </ac:spMkLst>
        </pc:spChg>
        <pc:spChg chg="mod">
          <ac:chgData name="Madhulika Chilla" userId="" providerId="" clId="Web-{F5C73BD2-1710-4921-95BA-7D2ECA540F5E}" dt="2023-03-02T22:57:20.538" v="141" actId="14100"/>
          <ac:spMkLst>
            <pc:docMk/>
            <pc:sldMk cId="3360724782" sldId="258"/>
            <ac:spMk id="8" creationId="{9B17D3D3-06A4-BD02-458C-4D1B2906312A}"/>
          </ac:spMkLst>
        </pc:spChg>
        <pc:spChg chg="mod">
          <ac:chgData name="Madhulika Chilla" userId="" providerId="" clId="Web-{F5C73BD2-1710-4921-95BA-7D2ECA540F5E}" dt="2023-03-02T23:28:52.671" v="285" actId="1076"/>
          <ac:spMkLst>
            <pc:docMk/>
            <pc:sldMk cId="3360724782" sldId="258"/>
            <ac:spMk id="9" creationId="{2E21103B-3A2F-011A-6617-A52BE2DACA4A}"/>
          </ac:spMkLst>
        </pc:spChg>
        <pc:spChg chg="mod">
          <ac:chgData name="Madhulika Chilla" userId="" providerId="" clId="Web-{F5C73BD2-1710-4921-95BA-7D2ECA540F5E}" dt="2023-03-02T22:55:29.643" v="134" actId="20577"/>
          <ac:spMkLst>
            <pc:docMk/>
            <pc:sldMk cId="3360724782" sldId="258"/>
            <ac:spMk id="22" creationId="{763D2450-094A-2242-AF99-CC27BE2A6027}"/>
          </ac:spMkLst>
        </pc:spChg>
        <pc:spChg chg="mod">
          <ac:chgData name="Madhulika Chilla" userId="" providerId="" clId="Web-{F5C73BD2-1710-4921-95BA-7D2ECA540F5E}" dt="2023-03-02T23:29:27.360" v="288" actId="1076"/>
          <ac:spMkLst>
            <pc:docMk/>
            <pc:sldMk cId="3360724782" sldId="258"/>
            <ac:spMk id="39" creationId="{9A753998-4155-707F-EF86-D1E7C5DF430D}"/>
          </ac:spMkLst>
        </pc:spChg>
        <pc:spChg chg="mod">
          <ac:chgData name="Madhulika Chilla" userId="" providerId="" clId="Web-{F5C73BD2-1710-4921-95BA-7D2ECA540F5E}" dt="2023-03-02T23:27:18.824" v="284" actId="1076"/>
          <ac:spMkLst>
            <pc:docMk/>
            <pc:sldMk cId="3360724782" sldId="258"/>
            <ac:spMk id="59" creationId="{0BE5FD8F-113B-C40F-12A1-207795A5463A}"/>
          </ac:spMkLst>
        </pc:spChg>
        <pc:spChg chg="mod">
          <ac:chgData name="Madhulika Chilla" userId="" providerId="" clId="Web-{F5C73BD2-1710-4921-95BA-7D2ECA540F5E}" dt="2023-03-02T22:57:24.992" v="142" actId="14100"/>
          <ac:spMkLst>
            <pc:docMk/>
            <pc:sldMk cId="3360724782" sldId="258"/>
            <ac:spMk id="60" creationId="{E084185A-1AAC-3925-8026-A469FCC702C9}"/>
          </ac:spMkLst>
        </pc:spChg>
        <pc:spChg chg="mod">
          <ac:chgData name="Madhulika Chilla" userId="" providerId="" clId="Web-{F5C73BD2-1710-4921-95BA-7D2ECA540F5E}" dt="2023-03-02T22:58:11.353" v="144" actId="14100"/>
          <ac:spMkLst>
            <pc:docMk/>
            <pc:sldMk cId="3360724782" sldId="258"/>
            <ac:spMk id="61" creationId="{B0A46C4B-2981-B608-AB55-5A8C05B74FAD}"/>
          </ac:spMkLst>
        </pc:spChg>
        <pc:spChg chg="mod">
          <ac:chgData name="Madhulika Chilla" userId="" providerId="" clId="Web-{F5C73BD2-1710-4921-95BA-7D2ECA540F5E}" dt="2023-03-02T23:27:15.277" v="283" actId="1076"/>
          <ac:spMkLst>
            <pc:docMk/>
            <pc:sldMk cId="3360724782" sldId="258"/>
            <ac:spMk id="129" creationId="{2909827D-499F-01A4-E875-E62CB84FB2C6}"/>
          </ac:spMkLst>
        </pc:spChg>
        <pc:spChg chg="add mod">
          <ac:chgData name="Madhulika Chilla" userId="" providerId="" clId="Web-{F5C73BD2-1710-4921-95BA-7D2ECA540F5E}" dt="2023-03-02T23:39:45.727" v="404" actId="20577"/>
          <ac:spMkLst>
            <pc:docMk/>
            <pc:sldMk cId="3360724782" sldId="258"/>
            <ac:spMk id="160" creationId="{984506E8-20AF-5D8C-A71F-EC697F6997FF}"/>
          </ac:spMkLst>
        </pc:spChg>
        <pc:spChg chg="add mod">
          <ac:chgData name="Madhulika Chilla" userId="" providerId="" clId="Web-{F5C73BD2-1710-4921-95BA-7D2ECA540F5E}" dt="2023-03-02T23:40:33.916" v="414" actId="20577"/>
          <ac:spMkLst>
            <pc:docMk/>
            <pc:sldMk cId="3360724782" sldId="258"/>
            <ac:spMk id="161" creationId="{F7E88DB4-F88C-9FE1-9C0C-3C2A8128117D}"/>
          </ac:spMkLst>
        </pc:spChg>
        <pc:spChg chg="add mod">
          <ac:chgData name="Madhulika Chilla" userId="" providerId="" clId="Web-{F5C73BD2-1710-4921-95BA-7D2ECA540F5E}" dt="2023-03-02T23:41:29.871" v="434" actId="1076"/>
          <ac:spMkLst>
            <pc:docMk/>
            <pc:sldMk cId="3360724782" sldId="258"/>
            <ac:spMk id="162" creationId="{5CDA2C16-BB04-598C-1419-D61A66B2A5A1}"/>
          </ac:spMkLst>
        </pc:spChg>
        <pc:spChg chg="add mod">
          <ac:chgData name="Madhulika Chilla" userId="" providerId="" clId="Web-{F5C73BD2-1710-4921-95BA-7D2ECA540F5E}" dt="2023-03-02T23:42:04.591" v="436" actId="1076"/>
          <ac:spMkLst>
            <pc:docMk/>
            <pc:sldMk cId="3360724782" sldId="258"/>
            <ac:spMk id="163" creationId="{A84B3B2D-0118-FA9F-9CE4-B4E45FC30503}"/>
          </ac:spMkLst>
        </pc:spChg>
        <pc:picChg chg="add mod">
          <ac:chgData name="Madhulika Chilla" userId="" providerId="" clId="Web-{F5C73BD2-1710-4921-95BA-7D2ECA540F5E}" dt="2023-03-02T23:33:42.385" v="330" actId="14100"/>
          <ac:picMkLst>
            <pc:docMk/>
            <pc:sldMk cId="3360724782" sldId="258"/>
            <ac:picMk id="27" creationId="{2E3F81C5-6DB1-2EB9-2814-F8A4990CEB3A}"/>
          </ac:picMkLst>
        </pc:picChg>
        <pc:picChg chg="add mod">
          <ac:chgData name="Madhulika Chilla" userId="" providerId="" clId="Web-{F5C73BD2-1710-4921-95BA-7D2ECA540F5E}" dt="2023-03-02T23:33:48.573" v="332" actId="1076"/>
          <ac:picMkLst>
            <pc:docMk/>
            <pc:sldMk cId="3360724782" sldId="258"/>
            <ac:picMk id="46" creationId="{C6E9F4D7-9866-DB01-2C15-6A9E412E01AA}"/>
          </ac:picMkLst>
        </pc:picChg>
        <pc:picChg chg="mod">
          <ac:chgData name="Madhulika Chilla" userId="" providerId="" clId="Web-{F5C73BD2-1710-4921-95BA-7D2ECA540F5E}" dt="2023-03-02T23:29:50.439" v="289" actId="1076"/>
          <ac:picMkLst>
            <pc:docMk/>
            <pc:sldMk cId="3360724782" sldId="258"/>
            <ac:picMk id="131" creationId="{E4192398-6989-2718-D480-C91DEA57C4A5}"/>
          </ac:picMkLst>
        </pc:picChg>
        <pc:picChg chg="add del mod">
          <ac:chgData name="Madhulika Chilla" userId="" providerId="" clId="Web-{F5C73BD2-1710-4921-95BA-7D2ECA540F5E}" dt="2023-03-02T23:33:31.494" v="328"/>
          <ac:picMkLst>
            <pc:docMk/>
            <pc:sldMk cId="3360724782" sldId="258"/>
            <ac:picMk id="132" creationId="{6E5FEDFB-0005-A20F-FEA4-EDD9F8E178F3}"/>
          </ac:picMkLst>
        </pc:picChg>
        <pc:picChg chg="add del mod">
          <ac:chgData name="Madhulika Chilla" userId="" providerId="" clId="Web-{F5C73BD2-1710-4921-95BA-7D2ECA540F5E}" dt="2023-03-02T23:33:29.463" v="327"/>
          <ac:picMkLst>
            <pc:docMk/>
            <pc:sldMk cId="3360724782" sldId="258"/>
            <ac:picMk id="133" creationId="{C167AC66-5499-4B83-2DE4-3A0FCC6A604C}"/>
          </ac:picMkLst>
        </pc:picChg>
        <pc:picChg chg="add mod">
          <ac:chgData name="Madhulika Chilla" userId="" providerId="" clId="Web-{F5C73BD2-1710-4921-95BA-7D2ECA540F5E}" dt="2023-03-02T23:40:00.258" v="405" actId="1076"/>
          <ac:picMkLst>
            <pc:docMk/>
            <pc:sldMk cId="3360724782" sldId="258"/>
            <ac:picMk id="134" creationId="{17C83CDA-5F7D-37EA-4659-64F024D0A41B}"/>
          </ac:picMkLst>
        </pc:picChg>
        <pc:picChg chg="add del mod">
          <ac:chgData name="Madhulika Chilla" userId="" providerId="" clId="Web-{F5C73BD2-1710-4921-95BA-7D2ECA540F5E}" dt="2023-03-02T23:34:22.246" v="340"/>
          <ac:picMkLst>
            <pc:docMk/>
            <pc:sldMk cId="3360724782" sldId="258"/>
            <ac:picMk id="135" creationId="{479B56FF-D40D-2042-0DD4-6BC78A21A09E}"/>
          </ac:picMkLst>
        </pc:picChg>
        <pc:picChg chg="add del mod">
          <ac:chgData name="Madhulika Chilla" userId="" providerId="" clId="Web-{F5C73BD2-1710-4921-95BA-7D2ECA540F5E}" dt="2023-03-02T23:34:19.918" v="339"/>
          <ac:picMkLst>
            <pc:docMk/>
            <pc:sldMk cId="3360724782" sldId="258"/>
            <ac:picMk id="137" creationId="{134EECC3-73AF-7F77-8EA6-209EDACA2E74}"/>
          </ac:picMkLst>
        </pc:picChg>
        <pc:picChg chg="add mod">
          <ac:chgData name="Madhulika Chilla" userId="" providerId="" clId="Web-{F5C73BD2-1710-4921-95BA-7D2ECA540F5E}" dt="2023-03-02T23:32:30.773" v="325" actId="1076"/>
          <ac:picMkLst>
            <pc:docMk/>
            <pc:sldMk cId="3360724782" sldId="258"/>
            <ac:picMk id="140" creationId="{7544AAB3-2F39-6B72-29B4-DBF8102C57E7}"/>
          </ac:picMkLst>
        </pc:picChg>
        <pc:picChg chg="add del mod">
          <ac:chgData name="Madhulika Chilla" userId="" providerId="" clId="Web-{F5C73BD2-1710-4921-95BA-7D2ECA540F5E}" dt="2023-03-02T22:56:22.708" v="139" actId="14100"/>
          <ac:picMkLst>
            <pc:docMk/>
            <pc:sldMk cId="3360724782" sldId="258"/>
            <ac:picMk id="141" creationId="{808B0578-22E5-6B76-1DB4-A3B7795A13A9}"/>
          </ac:picMkLst>
        </pc:picChg>
        <pc:picChg chg="add mod">
          <ac:chgData name="Madhulika Chilla" userId="" providerId="" clId="Web-{F5C73BD2-1710-4921-95BA-7D2ECA540F5E}" dt="2023-03-02T23:32:26.054" v="324" actId="1076"/>
          <ac:picMkLst>
            <pc:docMk/>
            <pc:sldMk cId="3360724782" sldId="258"/>
            <ac:picMk id="142" creationId="{F548018B-13E7-F6F1-100C-B72F0D8C7497}"/>
          </ac:picMkLst>
        </pc:picChg>
        <pc:picChg chg="add mod">
          <ac:chgData name="Madhulika Chilla" userId="" providerId="" clId="Web-{F5C73BD2-1710-4921-95BA-7D2ECA540F5E}" dt="2023-03-02T23:33:57.370" v="334" actId="1076"/>
          <ac:picMkLst>
            <pc:docMk/>
            <pc:sldMk cId="3360724782" sldId="258"/>
            <ac:picMk id="145" creationId="{ED3638AF-E505-9209-402B-38C239F674C1}"/>
          </ac:picMkLst>
        </pc:picChg>
        <pc:picChg chg="add mod">
          <ac:chgData name="Madhulika Chilla" userId="" providerId="" clId="Web-{F5C73BD2-1710-4921-95BA-7D2ECA540F5E}" dt="2023-03-02T23:34:06.448" v="336" actId="1076"/>
          <ac:picMkLst>
            <pc:docMk/>
            <pc:sldMk cId="3360724782" sldId="258"/>
            <ac:picMk id="146" creationId="{F0F23200-352E-8A4A-FF13-936AA5245217}"/>
          </ac:picMkLst>
        </pc:picChg>
        <pc:picChg chg="add mod">
          <ac:chgData name="Madhulika Chilla" userId="" providerId="" clId="Web-{F5C73BD2-1710-4921-95BA-7D2ECA540F5E}" dt="2023-03-02T23:34:10.745" v="338" actId="1076"/>
          <ac:picMkLst>
            <pc:docMk/>
            <pc:sldMk cId="3360724782" sldId="258"/>
            <ac:picMk id="151" creationId="{BFF49868-382A-0ED4-34B3-C63ED1EC304A}"/>
          </ac:picMkLst>
        </pc:picChg>
        <pc:cxnChg chg="add">
          <ac:chgData name="Madhulika Chilla" userId="" providerId="" clId="Web-{F5C73BD2-1710-4921-95BA-7D2ECA540F5E}" dt="2023-03-02T23:32:38.711" v="326"/>
          <ac:cxnSpMkLst>
            <pc:docMk/>
            <pc:sldMk cId="3360724782" sldId="258"/>
            <ac:cxnSpMk id="144" creationId="{436C81AB-9408-63CD-C35B-1CD2F5A6F03F}"/>
          </ac:cxnSpMkLst>
        </pc:cxnChg>
        <pc:cxnChg chg="add mod">
          <ac:chgData name="Madhulika Chilla" userId="" providerId="" clId="Web-{F5C73BD2-1710-4921-95BA-7D2ECA540F5E}" dt="2023-03-02T23:39:07.459" v="392" actId="14100"/>
          <ac:cxnSpMkLst>
            <pc:docMk/>
            <pc:sldMk cId="3360724782" sldId="258"/>
            <ac:cxnSpMk id="152" creationId="{76D9C15A-9EF5-BAC4-25C7-7A919CE24DCF}"/>
          </ac:cxnSpMkLst>
        </pc:cxnChg>
        <pc:cxnChg chg="add mod">
          <ac:chgData name="Madhulika Chilla" userId="" providerId="" clId="Web-{F5C73BD2-1710-4921-95BA-7D2ECA540F5E}" dt="2023-03-02T23:35:48.186" v="360" actId="1076"/>
          <ac:cxnSpMkLst>
            <pc:docMk/>
            <pc:sldMk cId="3360724782" sldId="258"/>
            <ac:cxnSpMk id="153" creationId="{BA612D6B-A707-69A2-A25C-AA4E2A75F3DC}"/>
          </ac:cxnSpMkLst>
        </pc:cxnChg>
        <pc:cxnChg chg="add mod">
          <ac:chgData name="Madhulika Chilla" userId="" providerId="" clId="Web-{F5C73BD2-1710-4921-95BA-7D2ECA540F5E}" dt="2023-03-02T23:35:12.373" v="352" actId="1076"/>
          <ac:cxnSpMkLst>
            <pc:docMk/>
            <pc:sldMk cId="3360724782" sldId="258"/>
            <ac:cxnSpMk id="154" creationId="{8200D828-7978-F0AB-9182-F8A92E0989BE}"/>
          </ac:cxnSpMkLst>
        </pc:cxnChg>
        <pc:cxnChg chg="add mod">
          <ac:chgData name="Madhulika Chilla" userId="" providerId="" clId="Web-{F5C73BD2-1710-4921-95BA-7D2ECA540F5E}" dt="2023-03-02T23:39:01.553" v="391" actId="1076"/>
          <ac:cxnSpMkLst>
            <pc:docMk/>
            <pc:sldMk cId="3360724782" sldId="258"/>
            <ac:cxnSpMk id="155" creationId="{A49A6BD3-1544-4073-E0BB-35E08B24512C}"/>
          </ac:cxnSpMkLst>
        </pc:cxnChg>
        <pc:cxnChg chg="add mod">
          <ac:chgData name="Madhulika Chilla" userId="" providerId="" clId="Web-{F5C73BD2-1710-4921-95BA-7D2ECA540F5E}" dt="2023-03-02T23:36:08.515" v="367" actId="1076"/>
          <ac:cxnSpMkLst>
            <pc:docMk/>
            <pc:sldMk cId="3360724782" sldId="258"/>
            <ac:cxnSpMk id="156" creationId="{959759EC-3327-8F02-5AAE-5DE1F1D04BB6}"/>
          </ac:cxnSpMkLst>
        </pc:cxnChg>
        <pc:cxnChg chg="add mod">
          <ac:chgData name="Madhulika Chilla" userId="" providerId="" clId="Web-{F5C73BD2-1710-4921-95BA-7D2ECA540F5E}" dt="2023-03-02T23:37:03.220" v="376" actId="14100"/>
          <ac:cxnSpMkLst>
            <pc:docMk/>
            <pc:sldMk cId="3360724782" sldId="258"/>
            <ac:cxnSpMk id="157" creationId="{43188F12-FD64-AB4E-998B-9BA45969F749}"/>
          </ac:cxnSpMkLst>
        </pc:cxnChg>
        <pc:cxnChg chg="add mod">
          <ac:chgData name="Madhulika Chilla" userId="" providerId="" clId="Web-{F5C73BD2-1710-4921-95BA-7D2ECA540F5E}" dt="2023-03-02T23:37:21.456" v="381" actId="14100"/>
          <ac:cxnSpMkLst>
            <pc:docMk/>
            <pc:sldMk cId="3360724782" sldId="258"/>
            <ac:cxnSpMk id="158" creationId="{13E41D70-AD16-0069-A09C-29FEBA4D4D72}"/>
          </ac:cxnSpMkLst>
        </pc:cxnChg>
        <pc:cxnChg chg="add mod">
          <ac:chgData name="Madhulika Chilla" userId="" providerId="" clId="Web-{F5C73BD2-1710-4921-95BA-7D2ECA540F5E}" dt="2023-03-02T23:38:51.646" v="389" actId="14100"/>
          <ac:cxnSpMkLst>
            <pc:docMk/>
            <pc:sldMk cId="3360724782" sldId="258"/>
            <ac:cxnSpMk id="159" creationId="{87DAC4B3-65A3-EF6C-8E77-B2551553EC1C}"/>
          </ac:cxnSpMkLst>
        </pc:cxnChg>
      </pc:sldChg>
    </pc:docChg>
  </pc:docChgLst>
  <pc:docChgLst>
    <pc:chgData name="Madhulika Chilla" userId="ZJVAAzZcd4ymH8sySy6lA9kl+TEW7yRfa1Bgv3A7CNA=" providerId="None" clId="Web-{B0E59318-388B-48D5-9A8D-EE174BE3D81A}"/>
    <pc:docChg chg="addSld modSld">
      <pc:chgData name="Madhulika Chilla" userId="ZJVAAzZcd4ymH8sySy6lA9kl+TEW7yRfa1Bgv3A7CNA=" providerId="None" clId="Web-{B0E59318-388B-48D5-9A8D-EE174BE3D81A}" dt="2023-03-02T03:47:52.255" v="70" actId="20577"/>
      <pc:docMkLst>
        <pc:docMk/>
      </pc:docMkLst>
      <pc:sldChg chg="modSp">
        <pc:chgData name="Madhulika Chilla" userId="ZJVAAzZcd4ymH8sySy6lA9kl+TEW7yRfa1Bgv3A7CNA=" providerId="None" clId="Web-{B0E59318-388B-48D5-9A8D-EE174BE3D81A}" dt="2023-03-02T03:47:52.255" v="70" actId="20577"/>
        <pc:sldMkLst>
          <pc:docMk/>
          <pc:sldMk cId="3360724782" sldId="258"/>
        </pc:sldMkLst>
        <pc:spChg chg="mod">
          <ac:chgData name="Madhulika Chilla" userId="ZJVAAzZcd4ymH8sySy6lA9kl+TEW7yRfa1Bgv3A7CNA=" providerId="None" clId="Web-{B0E59318-388B-48D5-9A8D-EE174BE3D81A}" dt="2023-03-02T03:47:52.255" v="70" actId="20577"/>
          <ac:spMkLst>
            <pc:docMk/>
            <pc:sldMk cId="3360724782" sldId="258"/>
            <ac:spMk id="27" creationId="{1C52D862-6064-8029-326E-F2B1A7409140}"/>
          </ac:spMkLst>
        </pc:spChg>
        <pc:spChg chg="mod">
          <ac:chgData name="Madhulika Chilla" userId="ZJVAAzZcd4ymH8sySy6lA9kl+TEW7yRfa1Bgv3A7CNA=" providerId="None" clId="Web-{B0E59318-388B-48D5-9A8D-EE174BE3D81A}" dt="2023-03-02T03:45:24.408" v="29" actId="1076"/>
          <ac:spMkLst>
            <pc:docMk/>
            <pc:sldMk cId="3360724782" sldId="258"/>
            <ac:spMk id="28" creationId="{ADAF55C4-A57D-FC6A-A503-74E8D8441732}"/>
          </ac:spMkLst>
        </pc:spChg>
        <pc:spChg chg="mod">
          <ac:chgData name="Madhulika Chilla" userId="ZJVAAzZcd4ymH8sySy6lA9kl+TEW7yRfa1Bgv3A7CNA=" providerId="None" clId="Web-{B0E59318-388B-48D5-9A8D-EE174BE3D81A}" dt="2023-03-02T03:47:09.301" v="55" actId="20577"/>
          <ac:spMkLst>
            <pc:docMk/>
            <pc:sldMk cId="3360724782" sldId="258"/>
            <ac:spMk id="39" creationId="{9A753998-4155-707F-EF86-D1E7C5DF430D}"/>
          </ac:spMkLst>
        </pc:spChg>
        <pc:spChg chg="mod">
          <ac:chgData name="Madhulika Chilla" userId="ZJVAAzZcd4ymH8sySy6lA9kl+TEW7yRfa1Bgv3A7CNA=" providerId="None" clId="Web-{B0E59318-388B-48D5-9A8D-EE174BE3D81A}" dt="2023-03-02T03:44:15.454" v="6" actId="20577"/>
          <ac:spMkLst>
            <pc:docMk/>
            <pc:sldMk cId="3360724782" sldId="258"/>
            <ac:spMk id="139" creationId="{0F4C935C-EAD3-8DE2-05B2-1C570C9E768D}"/>
          </ac:spMkLst>
        </pc:spChg>
        <pc:picChg chg="mod">
          <ac:chgData name="Madhulika Chilla" userId="ZJVAAzZcd4ymH8sySy6lA9kl+TEW7yRfa1Bgv3A7CNA=" providerId="None" clId="Web-{B0E59318-388B-48D5-9A8D-EE174BE3D81A}" dt="2023-03-02T03:45:41.659" v="32" actId="1076"/>
          <ac:picMkLst>
            <pc:docMk/>
            <pc:sldMk cId="3360724782" sldId="258"/>
            <ac:picMk id="11" creationId="{B1EEE942-BA5C-E7DF-111C-C345E19159F4}"/>
          </ac:picMkLst>
        </pc:picChg>
        <pc:picChg chg="mod">
          <ac:chgData name="Madhulika Chilla" userId="ZJVAAzZcd4ymH8sySy6lA9kl+TEW7yRfa1Bgv3A7CNA=" providerId="None" clId="Web-{B0E59318-388B-48D5-9A8D-EE174BE3D81A}" dt="2023-03-02T03:46:22.644" v="50" actId="1076"/>
          <ac:picMkLst>
            <pc:docMk/>
            <pc:sldMk cId="3360724782" sldId="258"/>
            <ac:picMk id="24" creationId="{2E06B2A6-DFB7-0B3A-333B-717B3AC28FB7}"/>
          </ac:picMkLst>
        </pc:picChg>
      </pc:sldChg>
      <pc:sldChg chg="addSp modSp new">
        <pc:chgData name="Madhulika Chilla" userId="ZJVAAzZcd4ymH8sySy6lA9kl+TEW7yRfa1Bgv3A7CNA=" providerId="None" clId="Web-{B0E59318-388B-48D5-9A8D-EE174BE3D81A}" dt="2023-03-02T03:46:06.815" v="49"/>
        <pc:sldMkLst>
          <pc:docMk/>
          <pc:sldMk cId="825142804" sldId="259"/>
        </pc:sldMkLst>
        <pc:spChg chg="add mod">
          <ac:chgData name="Madhulika Chilla" userId="ZJVAAzZcd4ymH8sySy6lA9kl+TEW7yRfa1Bgv3A7CNA=" providerId="None" clId="Web-{B0E59318-388B-48D5-9A8D-EE174BE3D81A}" dt="2023-03-02T03:46:06.815" v="49"/>
          <ac:spMkLst>
            <pc:docMk/>
            <pc:sldMk cId="825142804" sldId="259"/>
            <ac:spMk id="2" creationId="{15E03DF4-7063-64DB-F69E-AA23B1D46377}"/>
          </ac:spMkLst>
        </pc:spChg>
      </pc:sldChg>
    </pc:docChg>
  </pc:docChgLst>
  <pc:docChgLst>
    <pc:chgData name="Madhulika Chilla" clId="Web-{1C97A913-B168-4258-AB96-4391829BB2F4}"/>
    <pc:docChg chg="addSld delSld modSld">
      <pc:chgData name="Madhulika Chilla" userId="" providerId="" clId="Web-{1C97A913-B168-4258-AB96-4391829BB2F4}" dt="2023-03-01T16:58:56.259" v="318" actId="20577"/>
      <pc:docMkLst>
        <pc:docMk/>
      </pc:docMkLst>
      <pc:sldChg chg="addSp delSp modSp add del">
        <pc:chgData name="Madhulika Chilla" userId="" providerId="" clId="Web-{1C97A913-B168-4258-AB96-4391829BB2F4}" dt="2023-03-01T16:58:56.259" v="318" actId="20577"/>
        <pc:sldMkLst>
          <pc:docMk/>
          <pc:sldMk cId="3360724782" sldId="258"/>
        </pc:sldMkLst>
        <pc:spChg chg="add del mod">
          <ac:chgData name="Madhulika Chilla" userId="" providerId="" clId="Web-{1C97A913-B168-4258-AB96-4391829BB2F4}" dt="2023-03-01T16:21:21.585" v="17"/>
          <ac:spMkLst>
            <pc:docMk/>
            <pc:sldMk cId="3360724782" sldId="258"/>
            <ac:spMk id="3" creationId="{F504820F-3BFF-FEAF-FE0A-4BDDD94ED689}"/>
          </ac:spMkLst>
        </pc:spChg>
        <pc:spChg chg="mod">
          <ac:chgData name="Madhulika Chilla" userId="" providerId="" clId="Web-{1C97A913-B168-4258-AB96-4391829BB2F4}" dt="2023-03-01T16:25:52.731" v="85" actId="1076"/>
          <ac:spMkLst>
            <pc:docMk/>
            <pc:sldMk cId="3360724782" sldId="258"/>
            <ac:spMk id="5" creationId="{547D7D29-C5E8-F426-BD13-D8CD71782749}"/>
          </ac:spMkLst>
        </pc:spChg>
        <pc:spChg chg="mod">
          <ac:chgData name="Madhulika Chilla" userId="" providerId="" clId="Web-{1C97A913-B168-4258-AB96-4391829BB2F4}" dt="2023-03-01T16:20:44.271" v="10" actId="20577"/>
          <ac:spMkLst>
            <pc:docMk/>
            <pc:sldMk cId="3360724782" sldId="258"/>
            <ac:spMk id="8" creationId="{9B17D3D3-06A4-BD02-458C-4D1B2906312A}"/>
          </ac:spMkLst>
        </pc:spChg>
        <pc:spChg chg="del mod">
          <ac:chgData name="Madhulika Chilla" userId="" providerId="" clId="Web-{1C97A913-B168-4258-AB96-4391829BB2F4}" dt="2023-03-01T16:22:23.211" v="25"/>
          <ac:spMkLst>
            <pc:docMk/>
            <pc:sldMk cId="3360724782" sldId="258"/>
            <ac:spMk id="9" creationId="{6757EBE7-E601-3417-E140-0A27007093A2}"/>
          </ac:spMkLst>
        </pc:spChg>
        <pc:spChg chg="add mod">
          <ac:chgData name="Madhulika Chilla" userId="" providerId="" clId="Web-{1C97A913-B168-4258-AB96-4391829BB2F4}" dt="2023-03-01T16:22:04.476" v="24" actId="20577"/>
          <ac:spMkLst>
            <pc:docMk/>
            <pc:sldMk cId="3360724782" sldId="258"/>
            <ac:spMk id="12" creationId="{6228659D-FE3C-1DAE-3357-F30C12E6B637}"/>
          </ac:spMkLst>
        </pc:spChg>
        <pc:spChg chg="add mod">
          <ac:chgData name="Madhulika Chilla" userId="" providerId="" clId="Web-{1C97A913-B168-4258-AB96-4391829BB2F4}" dt="2023-03-01T16:25:19.934" v="81" actId="14100"/>
          <ac:spMkLst>
            <pc:docMk/>
            <pc:sldMk cId="3360724782" sldId="258"/>
            <ac:spMk id="13" creationId="{0B01DF95-A32F-C92F-8C6D-6FBA5D461E49}"/>
          </ac:spMkLst>
        </pc:spChg>
        <pc:spChg chg="add del mod">
          <ac:chgData name="Madhulika Chilla" userId="" providerId="" clId="Web-{1C97A913-B168-4258-AB96-4391829BB2F4}" dt="2023-03-01T16:28:09.594" v="94"/>
          <ac:spMkLst>
            <pc:docMk/>
            <pc:sldMk cId="3360724782" sldId="258"/>
            <ac:spMk id="14" creationId="{CA2E1480-D8D9-BDE9-C69E-1149D7ADCDE8}"/>
          </ac:spMkLst>
        </pc:spChg>
        <pc:spChg chg="add mod">
          <ac:chgData name="Madhulika Chilla" userId="" providerId="" clId="Web-{1C97A913-B168-4258-AB96-4391829BB2F4}" dt="2023-03-01T16:28:20.031" v="97" actId="1076"/>
          <ac:spMkLst>
            <pc:docMk/>
            <pc:sldMk cId="3360724782" sldId="258"/>
            <ac:spMk id="18" creationId="{74CBEC49-C8DF-E2AF-DA5C-2067B29475D5}"/>
          </ac:spMkLst>
        </pc:spChg>
        <pc:spChg chg="add del mod">
          <ac:chgData name="Madhulika Chilla" userId="" providerId="" clId="Web-{1C97A913-B168-4258-AB96-4391829BB2F4}" dt="2023-03-01T16:40:58.861" v="103" actId="14100"/>
          <ac:spMkLst>
            <pc:docMk/>
            <pc:sldMk cId="3360724782" sldId="258"/>
            <ac:spMk id="23" creationId="{B100C5FC-6F8C-3177-D632-36246E40991D}"/>
          </ac:spMkLst>
        </pc:spChg>
        <pc:spChg chg="mod">
          <ac:chgData name="Madhulika Chilla" userId="" providerId="" clId="Web-{1C97A913-B168-4258-AB96-4391829BB2F4}" dt="2023-03-01T16:27:53.937" v="89" actId="1076"/>
          <ac:spMkLst>
            <pc:docMk/>
            <pc:sldMk cId="3360724782" sldId="258"/>
            <ac:spMk id="27" creationId="{1C52D862-6064-8029-326E-F2B1A7409140}"/>
          </ac:spMkLst>
        </pc:spChg>
        <pc:spChg chg="add mod">
          <ac:chgData name="Madhulika Chilla" userId="" providerId="" clId="Web-{1C97A913-B168-4258-AB96-4391829BB2F4}" dt="2023-03-01T16:28:42.782" v="100" actId="1076"/>
          <ac:spMkLst>
            <pc:docMk/>
            <pc:sldMk cId="3360724782" sldId="258"/>
            <ac:spMk id="28" creationId="{ADAF55C4-A57D-FC6A-A503-74E8D8441732}"/>
          </ac:spMkLst>
        </pc:spChg>
        <pc:spChg chg="add del mod">
          <ac:chgData name="Madhulika Chilla" userId="" providerId="" clId="Web-{1C97A913-B168-4258-AB96-4391829BB2F4}" dt="2023-03-01T16:45:33.382" v="125"/>
          <ac:spMkLst>
            <pc:docMk/>
            <pc:sldMk cId="3360724782" sldId="258"/>
            <ac:spMk id="29" creationId="{BFF69FB1-5DD9-9C65-0B84-82BFD1E78E0A}"/>
          </ac:spMkLst>
        </pc:spChg>
        <pc:spChg chg="add mod">
          <ac:chgData name="Madhulika Chilla" userId="" providerId="" clId="Web-{1C97A913-B168-4258-AB96-4391829BB2F4}" dt="2023-03-01T16:58:56.259" v="318" actId="20577"/>
          <ac:spMkLst>
            <pc:docMk/>
            <pc:sldMk cId="3360724782" sldId="258"/>
            <ac:spMk id="30" creationId="{55A91A0D-75D1-2C1F-465E-3412E64799A5}"/>
          </ac:spMkLst>
        </pc:spChg>
        <pc:spChg chg="mod">
          <ac:chgData name="Madhulika Chilla" userId="" providerId="" clId="Web-{1C97A913-B168-4258-AB96-4391829BB2F4}" dt="2023-03-01T16:25:45.090" v="84" actId="1076"/>
          <ac:spMkLst>
            <pc:docMk/>
            <pc:sldMk cId="3360724782" sldId="258"/>
            <ac:spMk id="67" creationId="{179188C9-3347-26EE-8837-9602423F4F5D}"/>
          </ac:spMkLst>
        </pc:spChg>
        <pc:spChg chg="mod">
          <ac:chgData name="Madhulika Chilla" userId="" providerId="" clId="Web-{1C97A913-B168-4258-AB96-4391829BB2F4}" dt="2023-03-01T16:28:16.891" v="95" actId="1076"/>
          <ac:spMkLst>
            <pc:docMk/>
            <pc:sldMk cId="3360724782" sldId="258"/>
            <ac:spMk id="194" creationId="{E663D7BB-BDAB-8940-808A-7E7C8E4039DC}"/>
          </ac:spMkLst>
        </pc:spChg>
        <pc:picChg chg="mod">
          <ac:chgData name="Madhulika Chilla" userId="" providerId="" clId="Web-{1C97A913-B168-4258-AB96-4391829BB2F4}" dt="2023-03-01T16:42:18.144" v="104" actId="1076"/>
          <ac:picMkLst>
            <pc:docMk/>
            <pc:sldMk cId="3360724782" sldId="258"/>
            <ac:picMk id="182" creationId="{2612C424-C34F-3444-99AC-8A71C7038F1A}"/>
          </ac:picMkLst>
        </pc:picChg>
      </pc:sldChg>
      <pc:sldChg chg="addSp modSp new">
        <pc:chgData name="Madhulika Chilla" userId="" providerId="" clId="Web-{1C97A913-B168-4258-AB96-4391829BB2F4}" dt="2023-03-01T16:57:56.211" v="298" actId="20577"/>
        <pc:sldMkLst>
          <pc:docMk/>
          <pc:sldMk cId="879479259" sldId="259"/>
        </pc:sldMkLst>
        <pc:spChg chg="add mod">
          <ac:chgData name="Madhulika Chilla" userId="" providerId="" clId="Web-{1C97A913-B168-4258-AB96-4391829BB2F4}" dt="2023-03-01T16:57:56.211" v="298" actId="20577"/>
          <ac:spMkLst>
            <pc:docMk/>
            <pc:sldMk cId="879479259" sldId="259"/>
            <ac:spMk id="2" creationId="{E58C73FF-73E1-81D6-7910-705A5E9BBE7B}"/>
          </ac:spMkLst>
        </pc:spChg>
      </pc:sldChg>
    </pc:docChg>
  </pc:docChgLst>
  <pc:docChgLst>
    <pc:chgData name="Ricardo Nunez magana" userId="MZalrAVKG/zBvAoClK8yzm90V1eEOiiyUyaJY8jWagk=" providerId="None" clId="Web-{6C85C5A7-9F42-42DA-A192-DCBA86DE60FA}"/>
    <pc:docChg chg="modSld">
      <pc:chgData name="Ricardo Nunez magana" userId="MZalrAVKG/zBvAoClK8yzm90V1eEOiiyUyaJY8jWagk=" providerId="None" clId="Web-{6C85C5A7-9F42-42DA-A192-DCBA86DE60FA}" dt="2023-03-01T22:25:54.604" v="52"/>
      <pc:docMkLst>
        <pc:docMk/>
      </pc:docMkLst>
      <pc:sldChg chg="addSp modSp">
        <pc:chgData name="Ricardo Nunez magana" userId="MZalrAVKG/zBvAoClK8yzm90V1eEOiiyUyaJY8jWagk=" providerId="None" clId="Web-{6C85C5A7-9F42-42DA-A192-DCBA86DE60FA}" dt="2023-03-01T22:25:54.604" v="52"/>
        <pc:sldMkLst>
          <pc:docMk/>
          <pc:sldMk cId="3360724782" sldId="258"/>
        </pc:sldMkLst>
        <pc:graphicFrameChg chg="add mod modGraphic">
          <ac:chgData name="Ricardo Nunez magana" userId="MZalrAVKG/zBvAoClK8yzm90V1eEOiiyUyaJY8jWagk=" providerId="None" clId="Web-{6C85C5A7-9F42-42DA-A192-DCBA86DE60FA}" dt="2023-03-01T22:25:54.604" v="52"/>
          <ac:graphicFrameMkLst>
            <pc:docMk/>
            <pc:sldMk cId="3360724782" sldId="258"/>
            <ac:graphicFrameMk id="9" creationId="{899F977F-070C-CDC4-B178-9E32A7B39342}"/>
          </ac:graphicFrameMkLst>
        </pc:graphicFrameChg>
      </pc:sldChg>
    </pc:docChg>
  </pc:docChgLst>
  <pc:docChgLst>
    <pc:chgData name="Madhulika Chilla" userId="ZJVAAzZcd4ymH8sySy6lA9kl+TEW7yRfa1Bgv3A7CNA=" providerId="None" clId="Web-{247820D3-C3F0-4C80-8B16-19DA714D2E7F}"/>
    <pc:docChg chg="modSld">
      <pc:chgData name="Madhulika Chilla" userId="ZJVAAzZcd4ymH8sySy6lA9kl+TEW7yRfa1Bgv3A7CNA=" providerId="None" clId="Web-{247820D3-C3F0-4C80-8B16-19DA714D2E7F}" dt="2023-03-02T21:26:49.257" v="28" actId="1076"/>
      <pc:docMkLst>
        <pc:docMk/>
      </pc:docMkLst>
      <pc:sldChg chg="modSp">
        <pc:chgData name="Madhulika Chilla" userId="ZJVAAzZcd4ymH8sySy6lA9kl+TEW7yRfa1Bgv3A7CNA=" providerId="None" clId="Web-{247820D3-C3F0-4C80-8B16-19DA714D2E7F}" dt="2023-03-02T21:26:49.257" v="28" actId="1076"/>
        <pc:sldMkLst>
          <pc:docMk/>
          <pc:sldMk cId="3360724782" sldId="258"/>
        </pc:sldMkLst>
        <pc:spChg chg="mod">
          <ac:chgData name="Madhulika Chilla" userId="ZJVAAzZcd4ymH8sySy6lA9kl+TEW7yRfa1Bgv3A7CNA=" providerId="None" clId="Web-{247820D3-C3F0-4C80-8B16-19DA714D2E7F}" dt="2023-03-02T21:26:49.257" v="28" actId="1076"/>
          <ac:spMkLst>
            <pc:docMk/>
            <pc:sldMk cId="3360724782" sldId="258"/>
            <ac:spMk id="32" creationId="{6C5AF01D-8062-34BF-E0CB-1366E8925210}"/>
          </ac:spMkLst>
        </pc:spChg>
        <pc:spChg chg="mod">
          <ac:chgData name="Madhulika Chilla" userId="ZJVAAzZcd4ymH8sySy6lA9kl+TEW7yRfa1Bgv3A7CNA=" providerId="None" clId="Web-{247820D3-C3F0-4C80-8B16-19DA714D2E7F}" dt="2023-03-02T21:25:13.958" v="16" actId="20577"/>
          <ac:spMkLst>
            <pc:docMk/>
            <pc:sldMk cId="3360724782" sldId="258"/>
            <ac:spMk id="42" creationId="{20B4E8FD-7841-8DC6-3B12-49614BBD54CE}"/>
          </ac:spMkLst>
        </pc:spChg>
        <pc:spChg chg="mod">
          <ac:chgData name="Madhulika Chilla" userId="ZJVAAzZcd4ymH8sySy6lA9kl+TEW7yRfa1Bgv3A7CNA=" providerId="None" clId="Web-{247820D3-C3F0-4C80-8B16-19DA714D2E7F}" dt="2023-03-02T21:20:38.405" v="9" actId="1076"/>
          <ac:spMkLst>
            <pc:docMk/>
            <pc:sldMk cId="3360724782" sldId="258"/>
            <ac:spMk id="53" creationId="{98C00677-BD29-C8A4-316D-643685B2F810}"/>
          </ac:spMkLst>
        </pc:spChg>
        <pc:spChg chg="mod">
          <ac:chgData name="Madhulika Chilla" userId="ZJVAAzZcd4ymH8sySy6lA9kl+TEW7yRfa1Bgv3A7CNA=" providerId="None" clId="Web-{247820D3-C3F0-4C80-8B16-19DA714D2E7F}" dt="2023-03-02T21:25:51.975" v="25" actId="1076"/>
          <ac:spMkLst>
            <pc:docMk/>
            <pc:sldMk cId="3360724782" sldId="258"/>
            <ac:spMk id="129" creationId="{2909827D-499F-01A4-E875-E62CB84FB2C6}"/>
          </ac:spMkLst>
        </pc:spChg>
        <pc:picChg chg="mod">
          <ac:chgData name="Madhulika Chilla" userId="ZJVAAzZcd4ymH8sySy6lA9kl+TEW7yRfa1Bgv3A7CNA=" providerId="None" clId="Web-{247820D3-C3F0-4C80-8B16-19DA714D2E7F}" dt="2023-03-02T21:26:12.334" v="27" actId="1076"/>
          <ac:picMkLst>
            <pc:docMk/>
            <pc:sldMk cId="3360724782" sldId="258"/>
            <ac:picMk id="57" creationId="{7F2C2302-FE23-DC48-6549-B8C1817A9767}"/>
          </ac:picMkLst>
        </pc:picChg>
      </pc:sldChg>
    </pc:docChg>
  </pc:docChgLst>
  <pc:docChgLst>
    <pc:chgData name="Madhulika Chilla" userId="ZJVAAzZcd4ymH8sySy6lA9kl+TEW7yRfa1Bgv3A7CNA=" providerId="None" clId="Web-{F5C73BD2-1710-4921-95BA-7D2ECA540F5E}"/>
    <pc:docChg chg="modSld">
      <pc:chgData name="Madhulika Chilla" userId="ZJVAAzZcd4ymH8sySy6lA9kl+TEW7yRfa1Bgv3A7CNA=" providerId="None" clId="Web-{F5C73BD2-1710-4921-95BA-7D2ECA540F5E}" dt="2023-03-03T00:06:06.543" v="19" actId="1076"/>
      <pc:docMkLst>
        <pc:docMk/>
      </pc:docMkLst>
      <pc:sldChg chg="addSp delSp modSp">
        <pc:chgData name="Madhulika Chilla" userId="ZJVAAzZcd4ymH8sySy6lA9kl+TEW7yRfa1Bgv3A7CNA=" providerId="None" clId="Web-{F5C73BD2-1710-4921-95BA-7D2ECA540F5E}" dt="2023-03-03T00:06:06.543" v="19" actId="1076"/>
        <pc:sldMkLst>
          <pc:docMk/>
          <pc:sldMk cId="3360724782" sldId="258"/>
        </pc:sldMkLst>
        <pc:spChg chg="mod">
          <ac:chgData name="Madhulika Chilla" userId="ZJVAAzZcd4ymH8sySy6lA9kl+TEW7yRfa1Bgv3A7CNA=" providerId="None" clId="Web-{F5C73BD2-1710-4921-95BA-7D2ECA540F5E}" dt="2023-03-03T00:05:28.918" v="18" actId="20577"/>
          <ac:spMkLst>
            <pc:docMk/>
            <pc:sldMk cId="3360724782" sldId="258"/>
            <ac:spMk id="30" creationId="{55A91A0D-75D1-2C1F-465E-3412E64799A5}"/>
          </ac:spMkLst>
        </pc:spChg>
        <pc:spChg chg="mod">
          <ac:chgData name="Madhulika Chilla" userId="ZJVAAzZcd4ymH8sySy6lA9kl+TEW7yRfa1Bgv3A7CNA=" providerId="None" clId="Web-{F5C73BD2-1710-4921-95BA-7D2ECA540F5E}" dt="2023-03-03T00:03:49.900" v="13" actId="1076"/>
          <ac:spMkLst>
            <pc:docMk/>
            <pc:sldMk cId="3360724782" sldId="258"/>
            <ac:spMk id="40" creationId="{57FD5D5C-0664-2608-0171-4C358AC4EC69}"/>
          </ac:spMkLst>
        </pc:spChg>
        <pc:spChg chg="mod">
          <ac:chgData name="Madhulika Chilla" userId="ZJVAAzZcd4ymH8sySy6lA9kl+TEW7yRfa1Bgv3A7CNA=" providerId="None" clId="Web-{F5C73BD2-1710-4921-95BA-7D2ECA540F5E}" dt="2023-03-03T00:06:06.543" v="19" actId="1076"/>
          <ac:spMkLst>
            <pc:docMk/>
            <pc:sldMk cId="3360724782" sldId="258"/>
            <ac:spMk id="43" creationId="{B0DF850C-1515-2B58-9182-B2D89D16C0FE}"/>
          </ac:spMkLst>
        </pc:spChg>
        <pc:spChg chg="add mod">
          <ac:chgData name="Madhulika Chilla" userId="ZJVAAzZcd4ymH8sySy6lA9kl+TEW7yRfa1Bgv3A7CNA=" providerId="None" clId="Web-{F5C73BD2-1710-4921-95BA-7D2ECA540F5E}" dt="2023-03-03T00:02:41.758" v="9" actId="1076"/>
          <ac:spMkLst>
            <pc:docMk/>
            <pc:sldMk cId="3360724782" sldId="258"/>
            <ac:spMk id="132" creationId="{90A634AD-B0D1-4A3E-FF01-86CC5F65E690}"/>
          </ac:spMkLst>
        </pc:spChg>
        <pc:spChg chg="mod">
          <ac:chgData name="Madhulika Chilla" userId="ZJVAAzZcd4ymH8sySy6lA9kl+TEW7yRfa1Bgv3A7CNA=" providerId="None" clId="Web-{F5C73BD2-1710-4921-95BA-7D2ECA540F5E}" dt="2023-03-03T00:02:11.804" v="3" actId="1076"/>
          <ac:spMkLst>
            <pc:docMk/>
            <pc:sldMk cId="3360724782" sldId="258"/>
            <ac:spMk id="163" creationId="{A84B3B2D-0118-FA9F-9CE4-B4E45FC30503}"/>
          </ac:spMkLst>
        </pc:spChg>
        <pc:picChg chg="del">
          <ac:chgData name="Madhulika Chilla" userId="ZJVAAzZcd4ymH8sySy6lA9kl+TEW7yRfa1Bgv3A7CNA=" providerId="None" clId="Web-{F5C73BD2-1710-4921-95BA-7D2ECA540F5E}" dt="2023-03-03T00:04:45.323" v="14"/>
          <ac:picMkLst>
            <pc:docMk/>
            <pc:sldMk cId="3360724782" sldId="258"/>
            <ac:picMk id="131" creationId="{E4192398-6989-2718-D480-C91DEA57C4A5}"/>
          </ac:picMkLst>
        </pc:picChg>
        <pc:cxnChg chg="del">
          <ac:chgData name="Madhulika Chilla" userId="ZJVAAzZcd4ymH8sySy6lA9kl+TEW7yRfa1Bgv3A7CNA=" providerId="None" clId="Web-{F5C73BD2-1710-4921-95BA-7D2ECA540F5E}" dt="2023-03-03T00:04:57.042" v="15"/>
          <ac:cxnSpMkLst>
            <pc:docMk/>
            <pc:sldMk cId="3360724782" sldId="258"/>
            <ac:cxnSpMk id="144" creationId="{436C81AB-9408-63CD-C35B-1CD2F5A6F03F}"/>
          </ac:cxnSpMkLst>
        </pc:cxnChg>
        <pc:cxnChg chg="mod">
          <ac:chgData name="Madhulika Chilla" userId="ZJVAAzZcd4ymH8sySy6lA9kl+TEW7yRfa1Bgv3A7CNA=" providerId="None" clId="Web-{F5C73BD2-1710-4921-95BA-7D2ECA540F5E}" dt="2023-03-03T00:02:55.071" v="11" actId="14100"/>
          <ac:cxnSpMkLst>
            <pc:docMk/>
            <pc:sldMk cId="3360724782" sldId="258"/>
            <ac:cxnSpMk id="156" creationId="{959759EC-3327-8F02-5AAE-5DE1F1D04BB6}"/>
          </ac:cxnSpMkLst>
        </pc:cxnChg>
      </pc:sldChg>
    </pc:docChg>
  </pc:docChgLst>
  <pc:docChgLst>
    <pc:chgData name="Madhulika Chilla" userId="ZJVAAzZcd4ymH8sySy6lA9kl+TEW7yRfa1Bgv3A7CNA=" providerId="None" clId="Web-{227E4103-E2C0-4525-BD11-85EF70DFD25E}"/>
    <pc:docChg chg="modSld">
      <pc:chgData name="Madhulika Chilla" userId="ZJVAAzZcd4ymH8sySy6lA9kl+TEW7yRfa1Bgv3A7CNA=" providerId="None" clId="Web-{227E4103-E2C0-4525-BD11-85EF70DFD25E}" dt="2023-03-03T03:22:02.431" v="4" actId="1076"/>
      <pc:docMkLst>
        <pc:docMk/>
      </pc:docMkLst>
      <pc:sldChg chg="modSp">
        <pc:chgData name="Madhulika Chilla" userId="ZJVAAzZcd4ymH8sySy6lA9kl+TEW7yRfa1Bgv3A7CNA=" providerId="None" clId="Web-{227E4103-E2C0-4525-BD11-85EF70DFD25E}" dt="2023-03-03T03:22:02.431" v="4" actId="1076"/>
        <pc:sldMkLst>
          <pc:docMk/>
          <pc:sldMk cId="3360724782" sldId="258"/>
        </pc:sldMkLst>
        <pc:spChg chg="mod">
          <ac:chgData name="Madhulika Chilla" userId="ZJVAAzZcd4ymH8sySy6lA9kl+TEW7yRfa1Bgv3A7CNA=" providerId="None" clId="Web-{227E4103-E2C0-4525-BD11-85EF70DFD25E}" dt="2023-03-03T03:22:02.431" v="4" actId="1076"/>
          <ac:spMkLst>
            <pc:docMk/>
            <pc:sldMk cId="3360724782" sldId="258"/>
            <ac:spMk id="3" creationId="{56BD6CFE-4DB0-BA55-A103-6D207F49CBDE}"/>
          </ac:spMkLst>
        </pc:spChg>
        <pc:spChg chg="mod">
          <ac:chgData name="Madhulika Chilla" userId="ZJVAAzZcd4ymH8sySy6lA9kl+TEW7yRfa1Bgv3A7CNA=" providerId="None" clId="Web-{227E4103-E2C0-4525-BD11-85EF70DFD25E}" dt="2023-03-03T03:21:13.055" v="2" actId="1076"/>
          <ac:spMkLst>
            <pc:docMk/>
            <pc:sldMk cId="3360724782" sldId="258"/>
            <ac:spMk id="55" creationId="{9C7C140F-3DE0-2D21-705C-EA0A2CD09E05}"/>
          </ac:spMkLst>
        </pc:spChg>
      </pc:sldChg>
    </pc:docChg>
  </pc:docChgLst>
  <pc:docChgLst>
    <pc:chgData name="Ziyue Tang" clId="Web-{D3EEC6D0-BB96-42B0-A365-A90D2BF71628}"/>
    <pc:docChg chg="modSld">
      <pc:chgData name="Ziyue Tang" userId="" providerId="" clId="Web-{D3EEC6D0-BB96-42B0-A365-A90D2BF71628}" dt="2023-03-02T02:58:11.966" v="428" actId="14100"/>
      <pc:docMkLst>
        <pc:docMk/>
      </pc:docMkLst>
      <pc:sldChg chg="addSp modSp">
        <pc:chgData name="Ziyue Tang" userId="" providerId="" clId="Web-{D3EEC6D0-BB96-42B0-A365-A90D2BF71628}" dt="2023-03-02T02:58:11.966" v="428" actId="14100"/>
        <pc:sldMkLst>
          <pc:docMk/>
          <pc:sldMk cId="3360724782" sldId="258"/>
        </pc:sldMkLst>
        <pc:spChg chg="mod">
          <ac:chgData name="Ziyue Tang" userId="" providerId="" clId="Web-{D3EEC6D0-BB96-42B0-A365-A90D2BF71628}" dt="2023-03-02T02:57:01.824" v="416" actId="20577"/>
          <ac:spMkLst>
            <pc:docMk/>
            <pc:sldMk cId="3360724782" sldId="258"/>
            <ac:spMk id="27" creationId="{1C52D862-6064-8029-326E-F2B1A7409140}"/>
          </ac:spMkLst>
        </pc:spChg>
        <pc:spChg chg="mod">
          <ac:chgData name="Ziyue Tang" userId="" providerId="" clId="Web-{D3EEC6D0-BB96-42B0-A365-A90D2BF71628}" dt="2023-03-02T02:56:51.027" v="414" actId="1076"/>
          <ac:spMkLst>
            <pc:docMk/>
            <pc:sldMk cId="3360724782" sldId="258"/>
            <ac:spMk id="28" creationId="{ADAF55C4-A57D-FC6A-A503-74E8D8441732}"/>
          </ac:spMkLst>
        </pc:spChg>
        <pc:spChg chg="add mod">
          <ac:chgData name="Ziyue Tang" userId="" providerId="" clId="Web-{D3EEC6D0-BB96-42B0-A365-A90D2BF71628}" dt="2023-03-02T02:58:11.966" v="428" actId="14100"/>
          <ac:spMkLst>
            <pc:docMk/>
            <pc:sldMk cId="3360724782" sldId="258"/>
            <ac:spMk id="39" creationId="{9A753998-4155-707F-EF86-D1E7C5DF430D}"/>
          </ac:spMkLst>
        </pc:spChg>
        <pc:picChg chg="add mod">
          <ac:chgData name="Ziyue Tang" userId="" providerId="" clId="Web-{D3EEC6D0-BB96-42B0-A365-A90D2BF71628}" dt="2023-03-02T02:50:06.970" v="156" actId="14100"/>
          <ac:picMkLst>
            <pc:docMk/>
            <pc:sldMk cId="3360724782" sldId="258"/>
            <ac:picMk id="11" creationId="{B1EEE942-BA5C-E7DF-111C-C345E19159F4}"/>
          </ac:picMkLst>
        </pc:picChg>
        <pc:picChg chg="add mod">
          <ac:chgData name="Ziyue Tang" userId="" providerId="" clId="Web-{D3EEC6D0-BB96-42B0-A365-A90D2BF71628}" dt="2023-03-02T02:50:03.986" v="155" actId="14100"/>
          <ac:picMkLst>
            <pc:docMk/>
            <pc:sldMk cId="3360724782" sldId="258"/>
            <ac:picMk id="24" creationId="{2E06B2A6-DFB7-0B3A-333B-717B3AC28FB7}"/>
          </ac:picMkLst>
        </pc:picChg>
      </pc:sldChg>
    </pc:docChg>
  </pc:docChgLst>
  <pc:docChgLst>
    <pc:chgData name="Ricardo Nunez magana" userId="MZalrAVKG/zBvAoClK8yzm90V1eEOiiyUyaJY8jWagk=" providerId="None" clId="Web-{28A02045-3B90-45CD-9E40-A2D3EF8B7C92}"/>
    <pc:docChg chg="modSld">
      <pc:chgData name="Ricardo Nunez magana" userId="MZalrAVKG/zBvAoClK8yzm90V1eEOiiyUyaJY8jWagk=" providerId="None" clId="Web-{28A02045-3B90-45CD-9E40-A2D3EF8B7C92}" dt="2023-03-02T02:43:17.712" v="3" actId="20577"/>
      <pc:docMkLst>
        <pc:docMk/>
      </pc:docMkLst>
      <pc:sldChg chg="modSp">
        <pc:chgData name="Ricardo Nunez magana" userId="MZalrAVKG/zBvAoClK8yzm90V1eEOiiyUyaJY8jWagk=" providerId="None" clId="Web-{28A02045-3B90-45CD-9E40-A2D3EF8B7C92}" dt="2023-03-02T02:43:17.712" v="3" actId="20577"/>
        <pc:sldMkLst>
          <pc:docMk/>
          <pc:sldMk cId="3360724782" sldId="258"/>
        </pc:sldMkLst>
        <pc:spChg chg="mod">
          <ac:chgData name="Ricardo Nunez magana" userId="MZalrAVKG/zBvAoClK8yzm90V1eEOiiyUyaJY8jWagk=" providerId="None" clId="Web-{28A02045-3B90-45CD-9E40-A2D3EF8B7C92}" dt="2023-03-02T02:43:17.712" v="3" actId="20577"/>
          <ac:spMkLst>
            <pc:docMk/>
            <pc:sldMk cId="3360724782" sldId="258"/>
            <ac:spMk id="36" creationId="{295D4EC1-3825-2513-000F-284329DB3326}"/>
          </ac:spMkLst>
        </pc:spChg>
      </pc:sldChg>
    </pc:docChg>
  </pc:docChgLst>
  <pc:docChgLst>
    <pc:chgData name="Madhulika Chilla" clId="Web-{8F478FCE-9814-4B21-B14A-99EFE521EB97}"/>
    <pc:docChg chg="delSld modSld">
      <pc:chgData name="Madhulika Chilla" userId="" providerId="" clId="Web-{8F478FCE-9814-4B21-B14A-99EFE521EB97}" dt="2023-03-01T22:35:52.548" v="135"/>
      <pc:docMkLst>
        <pc:docMk/>
      </pc:docMkLst>
      <pc:sldChg chg="addSp delSp modSp">
        <pc:chgData name="Madhulika Chilla" userId="" providerId="" clId="Web-{8F478FCE-9814-4B21-B14A-99EFE521EB97}" dt="2023-03-01T22:34:19.577" v="134"/>
        <pc:sldMkLst>
          <pc:docMk/>
          <pc:sldMk cId="3360724782" sldId="258"/>
        </pc:sldMkLst>
        <pc:spChg chg="mod">
          <ac:chgData name="Madhulika Chilla" userId="" providerId="" clId="Web-{8F478FCE-9814-4B21-B14A-99EFE521EB97}" dt="2023-03-01T22:17:28.220" v="39" actId="1076"/>
          <ac:spMkLst>
            <pc:docMk/>
            <pc:sldMk cId="3360724782" sldId="258"/>
            <ac:spMk id="2" creationId="{483B37E3-74D4-9F4E-81FB-4FA09415C539}"/>
          </ac:spMkLst>
        </pc:spChg>
        <pc:spChg chg="mod">
          <ac:chgData name="Madhulika Chilla" userId="" providerId="" clId="Web-{8F478FCE-9814-4B21-B14A-99EFE521EB97}" dt="2023-03-01T22:22:56.073" v="65" actId="14100"/>
          <ac:spMkLst>
            <pc:docMk/>
            <pc:sldMk cId="3360724782" sldId="258"/>
            <ac:spMk id="5" creationId="{547D7D29-C5E8-F426-BD13-D8CD71782749}"/>
          </ac:spMkLst>
        </pc:spChg>
        <pc:spChg chg="mod">
          <ac:chgData name="Madhulika Chilla" userId="" providerId="" clId="Web-{8F478FCE-9814-4B21-B14A-99EFE521EB97}" dt="2023-03-01T22:17:37.954" v="41" actId="14100"/>
          <ac:spMkLst>
            <pc:docMk/>
            <pc:sldMk cId="3360724782" sldId="258"/>
            <ac:spMk id="6" creationId="{A0F0A4B1-CE86-2D45-8907-A777B1C83D4B}"/>
          </ac:spMkLst>
        </pc:spChg>
        <pc:spChg chg="mod">
          <ac:chgData name="Madhulika Chilla" userId="" providerId="" clId="Web-{8F478FCE-9814-4B21-B14A-99EFE521EB97}" dt="2023-03-01T22:22:50.417" v="64" actId="1076"/>
          <ac:spMkLst>
            <pc:docMk/>
            <pc:sldMk cId="3360724782" sldId="258"/>
            <ac:spMk id="7" creationId="{079FF3CA-458A-4D4D-B9C8-94E3801BC8D9}"/>
          </ac:spMkLst>
        </pc:spChg>
        <pc:spChg chg="mod">
          <ac:chgData name="Madhulika Chilla" userId="" providerId="" clId="Web-{8F478FCE-9814-4B21-B14A-99EFE521EB97}" dt="2023-03-01T22:21:51.462" v="45" actId="1076"/>
          <ac:spMkLst>
            <pc:docMk/>
            <pc:sldMk cId="3360724782" sldId="258"/>
            <ac:spMk id="8" creationId="{9B17D3D3-06A4-BD02-458C-4D1B2906312A}"/>
          </ac:spMkLst>
        </pc:spChg>
        <pc:spChg chg="mod">
          <ac:chgData name="Madhulika Chilla" userId="" providerId="" clId="Web-{8F478FCE-9814-4B21-B14A-99EFE521EB97}" dt="2023-03-01T22:22:29.791" v="62" actId="14100"/>
          <ac:spMkLst>
            <pc:docMk/>
            <pc:sldMk cId="3360724782" sldId="258"/>
            <ac:spMk id="13" creationId="{0B01DF95-A32F-C92F-8C6D-6FBA5D461E49}"/>
          </ac:spMkLst>
        </pc:spChg>
        <pc:spChg chg="mod">
          <ac:chgData name="Madhulika Chilla" userId="" providerId="" clId="Web-{8F478FCE-9814-4B21-B14A-99EFE521EB97}" dt="2023-03-01T22:23:10.511" v="67" actId="1076"/>
          <ac:spMkLst>
            <pc:docMk/>
            <pc:sldMk cId="3360724782" sldId="258"/>
            <ac:spMk id="20" creationId="{7DD4F683-C885-8126-A79D-4880889E29B7}"/>
          </ac:spMkLst>
        </pc:spChg>
        <pc:spChg chg="mod">
          <ac:chgData name="Madhulika Chilla" userId="" providerId="" clId="Web-{8F478FCE-9814-4B21-B14A-99EFE521EB97}" dt="2023-03-01T22:23:00.042" v="66" actId="1076"/>
          <ac:spMkLst>
            <pc:docMk/>
            <pc:sldMk cId="3360724782" sldId="258"/>
            <ac:spMk id="21" creationId="{60F4F224-1A14-6FD1-7CB8-CD29DE5333E9}"/>
          </ac:spMkLst>
        </pc:spChg>
        <pc:spChg chg="add mod">
          <ac:chgData name="Madhulika Chilla" userId="" providerId="" clId="Web-{8F478FCE-9814-4B21-B14A-99EFE521EB97}" dt="2023-03-01T22:29:43.647" v="103" actId="20577"/>
          <ac:spMkLst>
            <pc:docMk/>
            <pc:sldMk cId="3360724782" sldId="258"/>
            <ac:spMk id="22" creationId="{763D2450-094A-2242-AF99-CC27BE2A6027}"/>
          </ac:spMkLst>
        </pc:spChg>
        <pc:spChg chg="mod">
          <ac:chgData name="Madhulika Chilla" userId="" providerId="" clId="Web-{8F478FCE-9814-4B21-B14A-99EFE521EB97}" dt="2023-03-01T22:24:08.466" v="77" actId="20577"/>
          <ac:spMkLst>
            <pc:docMk/>
            <pc:sldMk cId="3360724782" sldId="258"/>
            <ac:spMk id="23" creationId="{B100C5FC-6F8C-3177-D632-36246E40991D}"/>
          </ac:spMkLst>
        </pc:spChg>
        <pc:spChg chg="mod">
          <ac:chgData name="Madhulika Chilla" userId="" providerId="" clId="Web-{8F478FCE-9814-4B21-B14A-99EFE521EB97}" dt="2023-03-01T22:21:56.056" v="46" actId="1076"/>
          <ac:spMkLst>
            <pc:docMk/>
            <pc:sldMk cId="3360724782" sldId="258"/>
            <ac:spMk id="30" creationId="{55A91A0D-75D1-2C1F-465E-3412E64799A5}"/>
          </ac:spMkLst>
        </pc:spChg>
        <pc:spChg chg="mod">
          <ac:chgData name="Madhulika Chilla" userId="" providerId="" clId="Web-{8F478FCE-9814-4B21-B14A-99EFE521EB97}" dt="2023-03-01T22:23:50.028" v="72" actId="1076"/>
          <ac:spMkLst>
            <pc:docMk/>
            <pc:sldMk cId="3360724782" sldId="258"/>
            <ac:spMk id="31" creationId="{0123E0C4-1128-2091-D45C-C17D61B61781}"/>
          </ac:spMkLst>
        </pc:spChg>
        <pc:spChg chg="mod">
          <ac:chgData name="Madhulika Chilla" userId="" providerId="" clId="Web-{8F478FCE-9814-4B21-B14A-99EFE521EB97}" dt="2023-03-01T22:21:42.649" v="44" actId="1076"/>
          <ac:spMkLst>
            <pc:docMk/>
            <pc:sldMk cId="3360724782" sldId="258"/>
            <ac:spMk id="39" creationId="{6DA4917D-2E73-20F8-07BE-853B76F8E75C}"/>
          </ac:spMkLst>
        </pc:spChg>
        <pc:spChg chg="add mod">
          <ac:chgData name="Madhulika Chilla" userId="" providerId="" clId="Web-{8F478FCE-9814-4B21-B14A-99EFE521EB97}" dt="2023-03-01T22:31:53.495" v="122" actId="20577"/>
          <ac:spMkLst>
            <pc:docMk/>
            <pc:sldMk cId="3360724782" sldId="258"/>
            <ac:spMk id="47" creationId="{F51AA34B-7159-A97B-9186-55C106DBA312}"/>
          </ac:spMkLst>
        </pc:spChg>
        <pc:spChg chg="mod">
          <ac:chgData name="Madhulika Chilla" userId="" providerId="" clId="Web-{8F478FCE-9814-4B21-B14A-99EFE521EB97}" dt="2023-03-01T22:32:52.090" v="125" actId="1076"/>
          <ac:spMkLst>
            <pc:docMk/>
            <pc:sldMk cId="3360724782" sldId="258"/>
            <ac:spMk id="188" creationId="{B94C18C3-6F3E-9943-AC69-A8E4CD9DF906}"/>
          </ac:spMkLst>
        </pc:spChg>
        <pc:spChg chg="mod">
          <ac:chgData name="Madhulika Chilla" userId="" providerId="" clId="Web-{8F478FCE-9814-4B21-B14A-99EFE521EB97}" dt="2023-03-01T22:32:59.215" v="127" actId="1076"/>
          <ac:spMkLst>
            <pc:docMk/>
            <pc:sldMk cId="3360724782" sldId="258"/>
            <ac:spMk id="189" creationId="{803F9F70-0ACA-9946-B4B7-3338CD523149}"/>
          </ac:spMkLst>
        </pc:spChg>
        <pc:graphicFrameChg chg="mod modGraphic">
          <ac:chgData name="Madhulika Chilla" userId="" providerId="" clId="Web-{8F478FCE-9814-4B21-B14A-99EFE521EB97}" dt="2023-03-01T22:34:19.577" v="134"/>
          <ac:graphicFrameMkLst>
            <pc:docMk/>
            <pc:sldMk cId="3360724782" sldId="258"/>
            <ac:graphicFrameMk id="9" creationId="{899F977F-070C-CDC4-B178-9E32A7B39342}"/>
          </ac:graphicFrameMkLst>
        </pc:graphicFrameChg>
        <pc:picChg chg="add del mod">
          <ac:chgData name="Madhulika Chilla" userId="" providerId="" clId="Web-{8F478FCE-9814-4B21-B14A-99EFE521EB97}" dt="2023-03-01T22:06:39.014" v="6"/>
          <ac:picMkLst>
            <pc:docMk/>
            <pc:sldMk cId="3360724782" sldId="258"/>
            <ac:picMk id="3" creationId="{3EA5540E-D47A-FFC9-5A96-3A03957369F5}"/>
          </ac:picMkLst>
        </pc:picChg>
        <pc:picChg chg="add del mod">
          <ac:chgData name="Madhulika Chilla" userId="" providerId="" clId="Web-{8F478FCE-9814-4B21-B14A-99EFE521EB97}" dt="2023-03-01T22:07:10.655" v="15"/>
          <ac:picMkLst>
            <pc:docMk/>
            <pc:sldMk cId="3360724782" sldId="258"/>
            <ac:picMk id="9" creationId="{7AD56ECE-E61D-1EC8-9B8F-0CF6D433C118}"/>
          </ac:picMkLst>
        </pc:picChg>
        <pc:picChg chg="mod">
          <ac:chgData name="Madhulika Chilla" userId="" providerId="" clId="Web-{8F478FCE-9814-4B21-B14A-99EFE521EB97}" dt="2023-03-01T22:17:49.095" v="43" actId="1076"/>
          <ac:picMkLst>
            <pc:docMk/>
            <pc:sldMk cId="3360724782" sldId="258"/>
            <ac:picMk id="10" creationId="{B4EE34D2-7CDB-4362-3EF8-6D0486B93227}"/>
          </ac:picMkLst>
        </pc:picChg>
        <pc:picChg chg="mod">
          <ac:chgData name="Madhulika Chilla" userId="" providerId="" clId="Web-{8F478FCE-9814-4B21-B14A-99EFE521EB97}" dt="2023-03-01T22:16:54.969" v="31" actId="14100"/>
          <ac:picMkLst>
            <pc:docMk/>
            <pc:sldMk cId="3360724782" sldId="258"/>
            <ac:picMk id="11" creationId="{ED2175FC-89FF-564A-9FC5-07E0CE55D85B}"/>
          </ac:picMkLst>
        </pc:picChg>
        <pc:picChg chg="add del mod">
          <ac:chgData name="Madhulika Chilla" userId="" providerId="" clId="Web-{8F478FCE-9814-4B21-B14A-99EFE521EB97}" dt="2023-03-01T22:14:12.167" v="23"/>
          <ac:picMkLst>
            <pc:docMk/>
            <pc:sldMk cId="3360724782" sldId="258"/>
            <ac:picMk id="14" creationId="{18FA9417-D6AD-4D28-A1AF-16AF0ED2DA23}"/>
          </ac:picMkLst>
        </pc:picChg>
        <pc:picChg chg="add mod">
          <ac:chgData name="Madhulika Chilla" userId="" providerId="" clId="Web-{8F478FCE-9814-4B21-B14A-99EFE521EB97}" dt="2023-03-01T22:33:03.481" v="128" actId="14100"/>
          <ac:picMkLst>
            <pc:docMk/>
            <pc:sldMk cId="3360724782" sldId="258"/>
            <ac:picMk id="18" creationId="{C60C074C-D197-EB99-5132-0188D90ADDE3}"/>
          </ac:picMkLst>
        </pc:picChg>
        <pc:picChg chg="del">
          <ac:chgData name="Madhulika Chilla" userId="" providerId="" clId="Web-{8F478FCE-9814-4B21-B14A-99EFE521EB97}" dt="2023-03-01T22:06:24.107" v="0"/>
          <ac:picMkLst>
            <pc:docMk/>
            <pc:sldMk cId="3360724782" sldId="258"/>
            <ac:picMk id="19" creationId="{8C4F82EF-8F71-77DD-F1B6-7E0911E9D7F0}"/>
          </ac:picMkLst>
        </pc:picChg>
        <pc:picChg chg="add del mod">
          <ac:chgData name="Madhulika Chilla" userId="" providerId="" clId="Web-{8F478FCE-9814-4B21-B14A-99EFE521EB97}" dt="2023-03-01T22:28:49.052" v="98"/>
          <ac:picMkLst>
            <pc:docMk/>
            <pc:sldMk cId="3360724782" sldId="258"/>
            <ac:picMk id="29" creationId="{8F2A2730-A03A-E992-D395-1E21B59C51B0}"/>
          </ac:picMkLst>
        </pc:picChg>
        <pc:picChg chg="add mod">
          <ac:chgData name="Madhulika Chilla" userId="" providerId="" clId="Web-{8F478FCE-9814-4B21-B14A-99EFE521EB97}" dt="2023-03-01T22:29:52.585" v="106" actId="14100"/>
          <ac:picMkLst>
            <pc:docMk/>
            <pc:sldMk cId="3360724782" sldId="258"/>
            <ac:picMk id="44" creationId="{1216E60E-05F0-8642-C366-0C7F1EF1FE99}"/>
          </ac:picMkLst>
        </pc:picChg>
        <pc:picChg chg="add mod">
          <ac:chgData name="Madhulika Chilla" userId="" providerId="" clId="Web-{8F478FCE-9814-4B21-B14A-99EFE521EB97}" dt="2023-03-01T22:31:01.743" v="113" actId="1076"/>
          <ac:picMkLst>
            <pc:docMk/>
            <pc:sldMk cId="3360724782" sldId="258"/>
            <ac:picMk id="45" creationId="{37D9C899-5C0D-97D5-8CDB-12A987C7DB9A}"/>
          </ac:picMkLst>
        </pc:picChg>
        <pc:picChg chg="add mod">
          <ac:chgData name="Madhulika Chilla" userId="" providerId="" clId="Web-{8F478FCE-9814-4B21-B14A-99EFE521EB97}" dt="2023-03-01T22:30:33.195" v="112" actId="1076"/>
          <ac:picMkLst>
            <pc:docMk/>
            <pc:sldMk cId="3360724782" sldId="258"/>
            <ac:picMk id="46" creationId="{02F6CBFA-48F7-945E-DA99-BE2CFDFE906F}"/>
          </ac:picMkLst>
        </pc:picChg>
        <pc:picChg chg="del">
          <ac:chgData name="Madhulika Chilla" userId="" providerId="" clId="Web-{8F478FCE-9814-4B21-B14A-99EFE521EB97}" dt="2023-03-01T22:16:48.500" v="29"/>
          <ac:picMkLst>
            <pc:docMk/>
            <pc:sldMk cId="3360724782" sldId="258"/>
            <ac:picMk id="182" creationId="{2612C424-C34F-3444-99AC-8A71C7038F1A}"/>
          </ac:picMkLst>
        </pc:picChg>
      </pc:sldChg>
      <pc:sldChg chg="del">
        <pc:chgData name="Madhulika Chilla" userId="" providerId="" clId="Web-{8F478FCE-9814-4B21-B14A-99EFE521EB97}" dt="2023-03-01T22:35:52.548" v="135"/>
        <pc:sldMkLst>
          <pc:docMk/>
          <pc:sldMk cId="879479259" sldId="259"/>
        </pc:sldMkLst>
      </pc:sldChg>
    </pc:docChg>
  </pc:docChgLst>
  <pc:docChgLst>
    <pc:chgData name="Ricardo Nunez magana" userId="MZalrAVKG/zBvAoClK8yzm90V1eEOiiyUyaJY8jWagk=" providerId="None" clId="Web-{A5948B60-0354-4E40-A030-82F4E49DB1F6}"/>
    <pc:docChg chg="modSld">
      <pc:chgData name="Ricardo Nunez magana" userId="MZalrAVKG/zBvAoClK8yzm90V1eEOiiyUyaJY8jWagk=" providerId="None" clId="Web-{A5948B60-0354-4E40-A030-82F4E49DB1F6}" dt="2023-03-02T02:39:50.200" v="234" actId="1076"/>
      <pc:docMkLst>
        <pc:docMk/>
      </pc:docMkLst>
      <pc:sldChg chg="addSp modSp">
        <pc:chgData name="Ricardo Nunez magana" userId="MZalrAVKG/zBvAoClK8yzm90V1eEOiiyUyaJY8jWagk=" providerId="None" clId="Web-{A5948B60-0354-4E40-A030-82F4E49DB1F6}" dt="2023-03-02T02:39:50.200" v="234" actId="1076"/>
        <pc:sldMkLst>
          <pc:docMk/>
          <pc:sldMk cId="3360724782" sldId="258"/>
        </pc:sldMkLst>
        <pc:spChg chg="add mod">
          <ac:chgData name="Ricardo Nunez magana" userId="MZalrAVKG/zBvAoClK8yzm90V1eEOiiyUyaJY8jWagk=" providerId="None" clId="Web-{A5948B60-0354-4E40-A030-82F4E49DB1F6}" dt="2023-03-02T02:39:47.966" v="233" actId="1076"/>
          <ac:spMkLst>
            <pc:docMk/>
            <pc:sldMk cId="3360724782" sldId="258"/>
            <ac:spMk id="6" creationId="{5DFE5535-A372-B78E-E419-DE43D7532325}"/>
          </ac:spMkLst>
        </pc:spChg>
        <pc:picChg chg="mod">
          <ac:chgData name="Ricardo Nunez magana" userId="MZalrAVKG/zBvAoClK8yzm90V1eEOiiyUyaJY8jWagk=" providerId="None" clId="Web-{A5948B60-0354-4E40-A030-82F4E49DB1F6}" dt="2023-03-02T02:39:50.200" v="234" actId="1076"/>
          <ac:picMkLst>
            <pc:docMk/>
            <pc:sldMk cId="3360724782" sldId="258"/>
            <ac:picMk id="141" creationId="{808B0578-22E5-6B76-1DB4-A3B7795A13A9}"/>
          </ac:picMkLst>
        </pc:picChg>
      </pc:sldChg>
    </pc:docChg>
  </pc:docChgLst>
  <pc:docChgLst>
    <pc:chgData name="Madhulika Chilla" userId="ZJVAAzZcd4ymH8sySy6lA9kl+TEW7yRfa1Bgv3A7CNA=" providerId="None" clId="Web-{8F478FCE-9814-4B21-B14A-99EFE521EB97}"/>
    <pc:docChg chg="modSld">
      <pc:chgData name="Madhulika Chilla" userId="ZJVAAzZcd4ymH8sySy6lA9kl+TEW7yRfa1Bgv3A7CNA=" providerId="None" clId="Web-{8F478FCE-9814-4B21-B14A-99EFE521EB97}" dt="2023-03-01T20:08:52.431" v="1078" actId="1076"/>
      <pc:docMkLst>
        <pc:docMk/>
      </pc:docMkLst>
      <pc:sldChg chg="addSp delSp modSp">
        <pc:chgData name="Madhulika Chilla" userId="ZJVAAzZcd4ymH8sySy6lA9kl+TEW7yRfa1Bgv3A7CNA=" providerId="None" clId="Web-{8F478FCE-9814-4B21-B14A-99EFE521EB97}" dt="2023-03-01T20:08:52.431" v="1078" actId="1076"/>
        <pc:sldMkLst>
          <pc:docMk/>
          <pc:sldMk cId="3360724782" sldId="258"/>
        </pc:sldMkLst>
        <pc:spChg chg="mod">
          <ac:chgData name="Madhulika Chilla" userId="ZJVAAzZcd4ymH8sySy6lA9kl+TEW7yRfa1Bgv3A7CNA=" providerId="None" clId="Web-{8F478FCE-9814-4B21-B14A-99EFE521EB97}" dt="2023-03-01T17:50:47.173" v="172" actId="20577"/>
          <ac:spMkLst>
            <pc:docMk/>
            <pc:sldMk cId="3360724782" sldId="258"/>
            <ac:spMk id="2" creationId="{483B37E3-74D4-9F4E-81FB-4FA09415C539}"/>
          </ac:spMkLst>
        </pc:spChg>
        <pc:spChg chg="add del mod">
          <ac:chgData name="Madhulika Chilla" userId="ZJVAAzZcd4ymH8sySy6lA9kl+TEW7yRfa1Bgv3A7CNA=" providerId="None" clId="Web-{8F478FCE-9814-4B21-B14A-99EFE521EB97}" dt="2023-03-01T19:19:40.242" v="328"/>
          <ac:spMkLst>
            <pc:docMk/>
            <pc:sldMk cId="3360724782" sldId="258"/>
            <ac:spMk id="3" creationId="{1A08AF9B-861F-31B1-4E36-DDB860B6137B}"/>
          </ac:spMkLst>
        </pc:spChg>
        <pc:spChg chg="mod">
          <ac:chgData name="Madhulika Chilla" userId="ZJVAAzZcd4ymH8sySy6lA9kl+TEW7yRfa1Bgv3A7CNA=" providerId="None" clId="Web-{8F478FCE-9814-4B21-B14A-99EFE521EB97}" dt="2023-03-01T19:13:31.515" v="299" actId="20577"/>
          <ac:spMkLst>
            <pc:docMk/>
            <pc:sldMk cId="3360724782" sldId="258"/>
            <ac:spMk id="4" creationId="{287E6A82-95D2-AF7B-B1AF-282D1EA4C32D}"/>
          </ac:spMkLst>
        </pc:spChg>
        <pc:spChg chg="mod">
          <ac:chgData name="Madhulika Chilla" userId="ZJVAAzZcd4ymH8sySy6lA9kl+TEW7yRfa1Bgv3A7CNA=" providerId="None" clId="Web-{8F478FCE-9814-4B21-B14A-99EFE521EB97}" dt="2023-03-01T20:05:46.989" v="1071" actId="1076"/>
          <ac:spMkLst>
            <pc:docMk/>
            <pc:sldMk cId="3360724782" sldId="258"/>
            <ac:spMk id="5" creationId="{547D7D29-C5E8-F426-BD13-D8CD71782749}"/>
          </ac:spMkLst>
        </pc:spChg>
        <pc:spChg chg="add del mod">
          <ac:chgData name="Madhulika Chilla" userId="ZJVAAzZcd4ymH8sySy6lA9kl+TEW7yRfa1Bgv3A7CNA=" providerId="None" clId="Web-{8F478FCE-9814-4B21-B14A-99EFE521EB97}" dt="2023-03-01T19:22:06.886" v="367"/>
          <ac:spMkLst>
            <pc:docMk/>
            <pc:sldMk cId="3360724782" sldId="258"/>
            <ac:spMk id="9" creationId="{34F5B86A-35ED-19AB-8AFD-7F231F07521D}"/>
          </ac:spMkLst>
        </pc:spChg>
        <pc:spChg chg="add del mod">
          <ac:chgData name="Madhulika Chilla" userId="ZJVAAzZcd4ymH8sySy6lA9kl+TEW7yRfa1Bgv3A7CNA=" providerId="None" clId="Web-{8F478FCE-9814-4B21-B14A-99EFE521EB97}" dt="2023-03-01T19:22:37.402" v="370"/>
          <ac:spMkLst>
            <pc:docMk/>
            <pc:sldMk cId="3360724782" sldId="258"/>
            <ac:spMk id="14" creationId="{6F97378E-E390-E187-DD97-BA1363545A50}"/>
          </ac:spMkLst>
        </pc:spChg>
        <pc:spChg chg="mod">
          <ac:chgData name="Madhulika Chilla" userId="ZJVAAzZcd4ymH8sySy6lA9kl+TEW7yRfa1Bgv3A7CNA=" providerId="None" clId="Web-{8F478FCE-9814-4B21-B14A-99EFE521EB97}" dt="2023-03-01T19:13:40.125" v="301" actId="1076"/>
          <ac:spMkLst>
            <pc:docMk/>
            <pc:sldMk cId="3360724782" sldId="258"/>
            <ac:spMk id="17" creationId="{672D9CD2-8F53-606B-8083-EFF9831C6032}"/>
          </ac:spMkLst>
        </pc:spChg>
        <pc:spChg chg="del mod">
          <ac:chgData name="Madhulika Chilla" userId="ZJVAAzZcd4ymH8sySy6lA9kl+TEW7yRfa1Bgv3A7CNA=" providerId="None" clId="Web-{8F478FCE-9814-4B21-B14A-99EFE521EB97}" dt="2023-03-01T17:32:28.227" v="19"/>
          <ac:spMkLst>
            <pc:docMk/>
            <pc:sldMk cId="3360724782" sldId="258"/>
            <ac:spMk id="18" creationId="{74CBEC49-C8DF-E2AF-DA5C-2067B29475D5}"/>
          </ac:spMkLst>
        </pc:spChg>
        <pc:spChg chg="mod">
          <ac:chgData name="Madhulika Chilla" userId="ZJVAAzZcd4ymH8sySy6lA9kl+TEW7yRfa1Bgv3A7CNA=" providerId="None" clId="Web-{8F478FCE-9814-4B21-B14A-99EFE521EB97}" dt="2023-03-01T20:06:32.412" v="1077" actId="1076"/>
          <ac:spMkLst>
            <pc:docMk/>
            <pc:sldMk cId="3360724782" sldId="258"/>
            <ac:spMk id="20" creationId="{7DD4F683-C885-8126-A79D-4880889E29B7}"/>
          </ac:spMkLst>
        </pc:spChg>
        <pc:spChg chg="mod">
          <ac:chgData name="Madhulika Chilla" userId="ZJVAAzZcd4ymH8sySy6lA9kl+TEW7yRfa1Bgv3A7CNA=" providerId="None" clId="Web-{8F478FCE-9814-4B21-B14A-99EFE521EB97}" dt="2023-03-01T20:06:07.755" v="1074" actId="1076"/>
          <ac:spMkLst>
            <pc:docMk/>
            <pc:sldMk cId="3360724782" sldId="258"/>
            <ac:spMk id="21" creationId="{60F4F224-1A14-6FD1-7CB8-CD29DE5333E9}"/>
          </ac:spMkLst>
        </pc:spChg>
        <pc:spChg chg="del mod">
          <ac:chgData name="Madhulika Chilla" userId="ZJVAAzZcd4ymH8sySy6lA9kl+TEW7yRfa1Bgv3A7CNA=" providerId="None" clId="Web-{8F478FCE-9814-4B21-B14A-99EFE521EB97}" dt="2023-03-01T20:04:37.988" v="1058"/>
          <ac:spMkLst>
            <pc:docMk/>
            <pc:sldMk cId="3360724782" sldId="258"/>
            <ac:spMk id="22" creationId="{3AD3F3FF-2EA0-4371-1362-765D6099B898}"/>
          </ac:spMkLst>
        </pc:spChg>
        <pc:spChg chg="mod">
          <ac:chgData name="Madhulika Chilla" userId="ZJVAAzZcd4ymH8sySy6lA9kl+TEW7yRfa1Bgv3A7CNA=" providerId="None" clId="Web-{8F478FCE-9814-4B21-B14A-99EFE521EB97}" dt="2023-03-01T20:06:28.068" v="1076" actId="1076"/>
          <ac:spMkLst>
            <pc:docMk/>
            <pc:sldMk cId="3360724782" sldId="258"/>
            <ac:spMk id="23" creationId="{B100C5FC-6F8C-3177-D632-36246E40991D}"/>
          </ac:spMkLst>
        </pc:spChg>
        <pc:spChg chg="mod">
          <ac:chgData name="Madhulika Chilla" userId="ZJVAAzZcd4ymH8sySy6lA9kl+TEW7yRfa1Bgv3A7CNA=" providerId="None" clId="Web-{8F478FCE-9814-4B21-B14A-99EFE521EB97}" dt="2023-03-01T19:13:51.953" v="303" actId="14100"/>
          <ac:spMkLst>
            <pc:docMk/>
            <pc:sldMk cId="3360724782" sldId="258"/>
            <ac:spMk id="25" creationId="{9989B275-0E7A-961A-54B5-0FB765D1A3C2}"/>
          </ac:spMkLst>
        </pc:spChg>
        <pc:spChg chg="mod">
          <ac:chgData name="Madhulika Chilla" userId="ZJVAAzZcd4ymH8sySy6lA9kl+TEW7yRfa1Bgv3A7CNA=" providerId="None" clId="Web-{8F478FCE-9814-4B21-B14A-99EFE521EB97}" dt="2023-03-01T19:13:59.453" v="304" actId="1076"/>
          <ac:spMkLst>
            <pc:docMk/>
            <pc:sldMk cId="3360724782" sldId="258"/>
            <ac:spMk id="26" creationId="{3E36C97C-4695-A15F-DA5B-B7C6B0AA7BDA}"/>
          </ac:spMkLst>
        </pc:spChg>
        <pc:spChg chg="mod">
          <ac:chgData name="Madhulika Chilla" userId="ZJVAAzZcd4ymH8sySy6lA9kl+TEW7yRfa1Bgv3A7CNA=" providerId="None" clId="Web-{8F478FCE-9814-4B21-B14A-99EFE521EB97}" dt="2023-03-01T17:33:16.337" v="41" actId="1076"/>
          <ac:spMkLst>
            <pc:docMk/>
            <pc:sldMk cId="3360724782" sldId="258"/>
            <ac:spMk id="28" creationId="{ADAF55C4-A57D-FC6A-A503-74E8D8441732}"/>
          </ac:spMkLst>
        </pc:spChg>
        <pc:spChg chg="add del mod">
          <ac:chgData name="Madhulika Chilla" userId="ZJVAAzZcd4ymH8sySy6lA9kl+TEW7yRfa1Bgv3A7CNA=" providerId="None" clId="Web-{8F478FCE-9814-4B21-B14A-99EFE521EB97}" dt="2023-03-01T19:25:25.390" v="461"/>
          <ac:spMkLst>
            <pc:docMk/>
            <pc:sldMk cId="3360724782" sldId="258"/>
            <ac:spMk id="29" creationId="{0798BF7D-25E3-44B0-014B-323AD64EEBBF}"/>
          </ac:spMkLst>
        </pc:spChg>
        <pc:spChg chg="mod">
          <ac:chgData name="Madhulika Chilla" userId="ZJVAAzZcd4ymH8sySy6lA9kl+TEW7yRfa1Bgv3A7CNA=" providerId="None" clId="Web-{8F478FCE-9814-4B21-B14A-99EFE521EB97}" dt="2023-03-01T17:54:03.365" v="270" actId="20577"/>
          <ac:spMkLst>
            <pc:docMk/>
            <pc:sldMk cId="3360724782" sldId="258"/>
            <ac:spMk id="30" creationId="{55A91A0D-75D1-2C1F-465E-3412E64799A5}"/>
          </ac:spMkLst>
        </pc:spChg>
        <pc:spChg chg="add mod">
          <ac:chgData name="Madhulika Chilla" userId="ZJVAAzZcd4ymH8sySy6lA9kl+TEW7yRfa1Bgv3A7CNA=" providerId="None" clId="Web-{8F478FCE-9814-4B21-B14A-99EFE521EB97}" dt="2023-03-01T20:06:24.693" v="1075" actId="1076"/>
          <ac:spMkLst>
            <pc:docMk/>
            <pc:sldMk cId="3360724782" sldId="258"/>
            <ac:spMk id="31" creationId="{0123E0C4-1128-2091-D45C-C17D61B61781}"/>
          </ac:spMkLst>
        </pc:spChg>
        <pc:spChg chg="add mod">
          <ac:chgData name="Madhulika Chilla" userId="ZJVAAzZcd4ymH8sySy6lA9kl+TEW7yRfa1Bgv3A7CNA=" providerId="None" clId="Web-{8F478FCE-9814-4B21-B14A-99EFE521EB97}" dt="2023-03-01T19:49:06.342" v="959" actId="1076"/>
          <ac:spMkLst>
            <pc:docMk/>
            <pc:sldMk cId="3360724782" sldId="258"/>
            <ac:spMk id="32" creationId="{6C5AF01D-8062-34BF-E0CB-1366E8925210}"/>
          </ac:spMkLst>
        </pc:spChg>
        <pc:spChg chg="add mod">
          <ac:chgData name="Madhulika Chilla" userId="ZJVAAzZcd4ymH8sySy6lA9kl+TEW7yRfa1Bgv3A7CNA=" providerId="None" clId="Web-{8F478FCE-9814-4B21-B14A-99EFE521EB97}" dt="2023-03-01T19:48:32.951" v="954" actId="1076"/>
          <ac:spMkLst>
            <pc:docMk/>
            <pc:sldMk cId="3360724782" sldId="258"/>
            <ac:spMk id="40" creationId="{57FD5D5C-0664-2608-0171-4C358AC4EC69}"/>
          </ac:spMkLst>
        </pc:spChg>
        <pc:spChg chg="add mod">
          <ac:chgData name="Madhulika Chilla" userId="ZJVAAzZcd4ymH8sySy6lA9kl+TEW7yRfa1Bgv3A7CNA=" providerId="None" clId="Web-{8F478FCE-9814-4B21-B14A-99EFE521EB97}" dt="2023-03-01T19:45:41.666" v="835" actId="1076"/>
          <ac:spMkLst>
            <pc:docMk/>
            <pc:sldMk cId="3360724782" sldId="258"/>
            <ac:spMk id="41" creationId="{033B097D-B1B5-62B7-3A5C-18A3BA550A8A}"/>
          </ac:spMkLst>
        </pc:spChg>
        <pc:spChg chg="add mod">
          <ac:chgData name="Madhulika Chilla" userId="ZJVAAzZcd4ymH8sySy6lA9kl+TEW7yRfa1Bgv3A7CNA=" providerId="None" clId="Web-{8F478FCE-9814-4B21-B14A-99EFE521EB97}" dt="2023-03-01T19:54:24.552" v="980" actId="1076"/>
          <ac:spMkLst>
            <pc:docMk/>
            <pc:sldMk cId="3360724782" sldId="258"/>
            <ac:spMk id="42" creationId="{20B4E8FD-7841-8DC6-3B12-49614BBD54CE}"/>
          </ac:spMkLst>
        </pc:spChg>
        <pc:spChg chg="add mod">
          <ac:chgData name="Madhulika Chilla" userId="ZJVAAzZcd4ymH8sySy6lA9kl+TEW7yRfa1Bgv3A7CNA=" providerId="None" clId="Web-{8F478FCE-9814-4B21-B14A-99EFE521EB97}" dt="2023-03-01T19:57:37.744" v="1017" actId="20577"/>
          <ac:spMkLst>
            <pc:docMk/>
            <pc:sldMk cId="3360724782" sldId="258"/>
            <ac:spMk id="43" creationId="{B0DF850C-1515-2B58-9182-B2D89D16C0FE}"/>
          </ac:spMkLst>
        </pc:spChg>
        <pc:spChg chg="del mod">
          <ac:chgData name="Madhulika Chilla" userId="ZJVAAzZcd4ymH8sySy6lA9kl+TEW7yRfa1Bgv3A7CNA=" providerId="None" clId="Web-{8F478FCE-9814-4B21-B14A-99EFE521EB97}" dt="2023-03-01T19:18:24.506" v="316"/>
          <ac:spMkLst>
            <pc:docMk/>
            <pc:sldMk cId="3360724782" sldId="258"/>
            <ac:spMk id="67" creationId="{179188C9-3347-26EE-8837-9602423F4F5D}"/>
          </ac:spMkLst>
        </pc:spChg>
        <pc:spChg chg="del mod">
          <ac:chgData name="Madhulika Chilla" userId="ZJVAAzZcd4ymH8sySy6lA9kl+TEW7yRfa1Bgv3A7CNA=" providerId="None" clId="Web-{8F478FCE-9814-4B21-B14A-99EFE521EB97}" dt="2023-03-01T19:27:53.424" v="481"/>
          <ac:spMkLst>
            <pc:docMk/>
            <pc:sldMk cId="3360724782" sldId="258"/>
            <ac:spMk id="69" creationId="{741B51C3-3B2A-E966-15E6-E2C84B049696}"/>
          </ac:spMkLst>
        </pc:spChg>
        <pc:spChg chg="del mod">
          <ac:chgData name="Madhulika Chilla" userId="ZJVAAzZcd4ymH8sySy6lA9kl+TEW7yRfa1Bgv3A7CNA=" providerId="None" clId="Web-{8F478FCE-9814-4B21-B14A-99EFE521EB97}" dt="2023-03-01T19:55:37.648" v="982"/>
          <ac:spMkLst>
            <pc:docMk/>
            <pc:sldMk cId="3360724782" sldId="258"/>
            <ac:spMk id="70" creationId="{FF1196C7-172D-4618-90C3-13C48279815A}"/>
          </ac:spMkLst>
        </pc:spChg>
        <pc:spChg chg="mod">
          <ac:chgData name="Madhulika Chilla" userId="ZJVAAzZcd4ymH8sySy6lA9kl+TEW7yRfa1Bgv3A7CNA=" providerId="None" clId="Web-{8F478FCE-9814-4B21-B14A-99EFE521EB97}" dt="2023-03-01T20:00:26.341" v="1031" actId="1076"/>
          <ac:spMkLst>
            <pc:docMk/>
            <pc:sldMk cId="3360724782" sldId="258"/>
            <ac:spMk id="144" creationId="{6CDBA55F-FD05-314A-96B3-BD903C48701D}"/>
          </ac:spMkLst>
        </pc:spChg>
        <pc:spChg chg="mod">
          <ac:chgData name="Madhulika Chilla" userId="ZJVAAzZcd4ymH8sySy6lA9kl+TEW7yRfa1Bgv3A7CNA=" providerId="None" clId="Web-{8F478FCE-9814-4B21-B14A-99EFE521EB97}" dt="2023-03-01T20:00:17.279" v="1030" actId="20577"/>
          <ac:spMkLst>
            <pc:docMk/>
            <pc:sldMk cId="3360724782" sldId="258"/>
            <ac:spMk id="145" creationId="{1F41151D-D6E8-3646-93D8-AD23134EE19B}"/>
          </ac:spMkLst>
        </pc:spChg>
        <pc:spChg chg="mod">
          <ac:chgData name="Madhulika Chilla" userId="ZJVAAzZcd4ymH8sySy6lA9kl+TEW7yRfa1Bgv3A7CNA=" providerId="None" clId="Web-{8F478FCE-9814-4B21-B14A-99EFE521EB97}" dt="2023-03-01T20:08:52.431" v="1078" actId="1076"/>
          <ac:spMkLst>
            <pc:docMk/>
            <pc:sldMk cId="3360724782" sldId="258"/>
            <ac:spMk id="188" creationId="{B94C18C3-6F3E-9943-AC69-A8E4CD9DF906}"/>
          </ac:spMkLst>
        </pc:spChg>
        <pc:spChg chg="mod">
          <ac:chgData name="Madhulika Chilla" userId="ZJVAAzZcd4ymH8sySy6lA9kl+TEW7yRfa1Bgv3A7CNA=" providerId="None" clId="Web-{8F478FCE-9814-4B21-B14A-99EFE521EB97}" dt="2023-03-01T20:05:32.707" v="1068" actId="1076"/>
          <ac:spMkLst>
            <pc:docMk/>
            <pc:sldMk cId="3360724782" sldId="258"/>
            <ac:spMk id="189" creationId="{803F9F70-0ACA-9946-B4B7-3338CD523149}"/>
          </ac:spMkLst>
        </pc:spChg>
        <pc:picChg chg="mod">
          <ac:chgData name="Madhulika Chilla" userId="ZJVAAzZcd4ymH8sySy6lA9kl+TEW7yRfa1Bgv3A7CNA=" providerId="None" clId="Web-{8F478FCE-9814-4B21-B14A-99EFE521EB97}" dt="2023-03-01T20:05:26.489" v="1066" actId="1076"/>
          <ac:picMkLst>
            <pc:docMk/>
            <pc:sldMk cId="3360724782" sldId="258"/>
            <ac:picMk id="19" creationId="{8C4F82EF-8F71-77DD-F1B6-7E0911E9D7F0}"/>
          </ac:picMkLst>
        </pc:picChg>
      </pc:sldChg>
      <pc:sldChg chg="addSp modSp">
        <pc:chgData name="Madhulika Chilla" userId="ZJVAAzZcd4ymH8sySy6lA9kl+TEW7yRfa1Bgv3A7CNA=" providerId="None" clId="Web-{8F478FCE-9814-4B21-B14A-99EFE521EB97}" dt="2023-03-01T19:32:24.711" v="636" actId="14100"/>
        <pc:sldMkLst>
          <pc:docMk/>
          <pc:sldMk cId="879479259" sldId="259"/>
        </pc:sldMkLst>
        <pc:spChg chg="mod">
          <ac:chgData name="Madhulika Chilla" userId="ZJVAAzZcd4ymH8sySy6lA9kl+TEW7yRfa1Bgv3A7CNA=" providerId="None" clId="Web-{8F478FCE-9814-4B21-B14A-99EFE521EB97}" dt="2023-03-01T17:41:46.646" v="45" actId="20577"/>
          <ac:spMkLst>
            <pc:docMk/>
            <pc:sldMk cId="879479259" sldId="259"/>
            <ac:spMk id="2" creationId="{E58C73FF-73E1-81D6-7910-705A5E9BBE7B}"/>
          </ac:spMkLst>
        </pc:spChg>
        <pc:spChg chg="add mod">
          <ac:chgData name="Madhulika Chilla" userId="ZJVAAzZcd4ymH8sySy6lA9kl+TEW7yRfa1Bgv3A7CNA=" providerId="None" clId="Web-{8F478FCE-9814-4B21-B14A-99EFE521EB97}" dt="2023-03-01T19:23:53.372" v="415" actId="20577"/>
          <ac:spMkLst>
            <pc:docMk/>
            <pc:sldMk cId="879479259" sldId="259"/>
            <ac:spMk id="3" creationId="{FD1864FD-A98E-A20B-36E4-AC57FA193AF4}"/>
          </ac:spMkLst>
        </pc:spChg>
        <pc:spChg chg="add mod">
          <ac:chgData name="Madhulika Chilla" userId="ZJVAAzZcd4ymH8sySy6lA9kl+TEW7yRfa1Bgv3A7CNA=" providerId="None" clId="Web-{8F478FCE-9814-4B21-B14A-99EFE521EB97}" dt="2023-03-01T17:41:58.724" v="52" actId="20577"/>
          <ac:spMkLst>
            <pc:docMk/>
            <pc:sldMk cId="879479259" sldId="259"/>
            <ac:spMk id="4" creationId="{A86145FD-0690-0599-DC2F-F6185866C586}"/>
          </ac:spMkLst>
        </pc:spChg>
        <pc:spChg chg="add mod">
          <ac:chgData name="Madhulika Chilla" userId="ZJVAAzZcd4ymH8sySy6lA9kl+TEW7yRfa1Bgv3A7CNA=" providerId="None" clId="Web-{8F478FCE-9814-4B21-B14A-99EFE521EB97}" dt="2023-03-01T19:08:54.853" v="282" actId="20577"/>
          <ac:spMkLst>
            <pc:docMk/>
            <pc:sldMk cId="879479259" sldId="259"/>
            <ac:spMk id="5" creationId="{065ECFAF-ABF8-F9C8-4DFF-C1B1C17F0865}"/>
          </ac:spMkLst>
        </pc:spChg>
        <pc:spChg chg="add mod">
          <ac:chgData name="Madhulika Chilla" userId="ZJVAAzZcd4ymH8sySy6lA9kl+TEW7yRfa1Bgv3A7CNA=" providerId="None" clId="Web-{8F478FCE-9814-4B21-B14A-99EFE521EB97}" dt="2023-03-01T19:32:24.711" v="636" actId="14100"/>
          <ac:spMkLst>
            <pc:docMk/>
            <pc:sldMk cId="879479259" sldId="259"/>
            <ac:spMk id="6" creationId="{79DFD368-A73D-14F6-A103-AB655C049E57}"/>
          </ac:spMkLst>
        </pc:spChg>
      </pc:sldChg>
    </pc:docChg>
  </pc:docChgLst>
  <pc:docChgLst>
    <pc:chgData name="Madhulika Chilla" userId="ZJVAAzZcd4ymH8sySy6lA9kl+TEW7yRfa1Bgv3A7CNA=" providerId="None" clId="Web-{7A669802-9B53-4C32-B398-3C0DF010205A}"/>
    <pc:docChg chg="modSld">
      <pc:chgData name="Madhulika Chilla" userId="ZJVAAzZcd4ymH8sySy6lA9kl+TEW7yRfa1Bgv3A7CNA=" providerId="None" clId="Web-{7A669802-9B53-4C32-B398-3C0DF010205A}" dt="2023-03-02T02:31:08.557" v="3" actId="20577"/>
      <pc:docMkLst>
        <pc:docMk/>
      </pc:docMkLst>
      <pc:sldChg chg="modSp">
        <pc:chgData name="Madhulika Chilla" userId="ZJVAAzZcd4ymH8sySy6lA9kl+TEW7yRfa1Bgv3A7CNA=" providerId="None" clId="Web-{7A669802-9B53-4C32-B398-3C0DF010205A}" dt="2023-03-02T02:31:08.557" v="3" actId="20577"/>
        <pc:sldMkLst>
          <pc:docMk/>
          <pc:sldMk cId="3360724782" sldId="258"/>
        </pc:sldMkLst>
        <pc:spChg chg="mod">
          <ac:chgData name="Madhulika Chilla" userId="ZJVAAzZcd4ymH8sySy6lA9kl+TEW7yRfa1Bgv3A7CNA=" providerId="None" clId="Web-{7A669802-9B53-4C32-B398-3C0DF010205A}" dt="2023-03-02T02:31:08.557" v="3" actId="20577"/>
          <ac:spMkLst>
            <pc:docMk/>
            <pc:sldMk cId="3360724782" sldId="258"/>
            <ac:spMk id="22" creationId="{763D2450-094A-2242-AF99-CC27BE2A6027}"/>
          </ac:spMkLst>
        </pc:spChg>
      </pc:sldChg>
    </pc:docChg>
  </pc:docChgLst>
  <pc:docChgLst>
    <pc:chgData name="Madhulika Chilla" userId="ZJVAAzZcd4ymH8sySy6lA9kl+TEW7yRfa1Bgv3A7CNA=" providerId="None" clId="Web-{2045E9EB-D44E-4C98-A014-63B849D492F7}"/>
    <pc:docChg chg="addSld delSld modSld">
      <pc:chgData name="Madhulika Chilla" userId="ZJVAAzZcd4ymH8sySy6lA9kl+TEW7yRfa1Bgv3A7CNA=" providerId="None" clId="Web-{2045E9EB-D44E-4C98-A014-63B849D492F7}" dt="2023-03-02T19:31:32.158" v="546"/>
      <pc:docMkLst>
        <pc:docMk/>
      </pc:docMkLst>
      <pc:sldChg chg="addSp delSp modSp">
        <pc:chgData name="Madhulika Chilla" userId="ZJVAAzZcd4ymH8sySy6lA9kl+TEW7yRfa1Bgv3A7CNA=" providerId="None" clId="Web-{2045E9EB-D44E-4C98-A014-63B849D492F7}" dt="2023-03-02T19:31:32.158" v="546"/>
        <pc:sldMkLst>
          <pc:docMk/>
          <pc:sldMk cId="3360724782" sldId="258"/>
        </pc:sldMkLst>
        <pc:spChg chg="mod">
          <ac:chgData name="Madhulika Chilla" userId="ZJVAAzZcd4ymH8sySy6lA9kl+TEW7yRfa1Bgv3A7CNA=" providerId="None" clId="Web-{2045E9EB-D44E-4C98-A014-63B849D492F7}" dt="2023-03-02T19:28:02.043" v="504" actId="1076"/>
          <ac:spMkLst>
            <pc:docMk/>
            <pc:sldMk cId="3360724782" sldId="258"/>
            <ac:spMk id="6" creationId="{5DFE5535-A372-B78E-E419-DE43D7532325}"/>
          </ac:spMkLst>
        </pc:spChg>
        <pc:spChg chg="add mod">
          <ac:chgData name="Madhulika Chilla" userId="ZJVAAzZcd4ymH8sySy6lA9kl+TEW7yRfa1Bgv3A7CNA=" providerId="None" clId="Web-{2045E9EB-D44E-4C98-A014-63B849D492F7}" dt="2023-03-02T18:03:48.005" v="135" actId="1076"/>
          <ac:spMkLst>
            <pc:docMk/>
            <pc:sldMk cId="3360724782" sldId="258"/>
            <ac:spMk id="9" creationId="{2E21103B-3A2F-011A-6617-A52BE2DACA4A}"/>
          </ac:spMkLst>
        </pc:spChg>
        <pc:spChg chg="add">
          <ac:chgData name="Madhulika Chilla" userId="ZJVAAzZcd4ymH8sySy6lA9kl+TEW7yRfa1Bgv3A7CNA=" providerId="None" clId="Web-{2045E9EB-D44E-4C98-A014-63B849D492F7}" dt="2023-03-02T18:05:44.757" v="146"/>
          <ac:spMkLst>
            <pc:docMk/>
            <pc:sldMk cId="3360724782" sldId="258"/>
            <ac:spMk id="20" creationId="{0C7DA112-6CB5-2CA0-E3D8-0E9CCA80D9CF}"/>
          </ac:spMkLst>
        </pc:spChg>
        <pc:spChg chg="del mod">
          <ac:chgData name="Madhulika Chilla" userId="ZJVAAzZcd4ymH8sySy6lA9kl+TEW7yRfa1Bgv3A7CNA=" providerId="None" clId="Web-{2045E9EB-D44E-4C98-A014-63B849D492F7}" dt="2023-03-02T17:54:24.588" v="46"/>
          <ac:spMkLst>
            <pc:docMk/>
            <pc:sldMk cId="3360724782" sldId="258"/>
            <ac:spMk id="27" creationId="{1C52D862-6064-8029-326E-F2B1A7409140}"/>
          </ac:spMkLst>
        </pc:spChg>
        <pc:spChg chg="mod">
          <ac:chgData name="Madhulika Chilla" userId="ZJVAAzZcd4ymH8sySy6lA9kl+TEW7yRfa1Bgv3A7CNA=" providerId="None" clId="Web-{2045E9EB-D44E-4C98-A014-63B849D492F7}" dt="2023-03-02T17:52:50.321" v="6" actId="1076"/>
          <ac:spMkLst>
            <pc:docMk/>
            <pc:sldMk cId="3360724782" sldId="258"/>
            <ac:spMk id="28" creationId="{ADAF55C4-A57D-FC6A-A503-74E8D8441732}"/>
          </ac:spMkLst>
        </pc:spChg>
        <pc:spChg chg="mod">
          <ac:chgData name="Madhulika Chilla" userId="ZJVAAzZcd4ymH8sySy6lA9kl+TEW7yRfa1Bgv3A7CNA=" providerId="None" clId="Web-{2045E9EB-D44E-4C98-A014-63B849D492F7}" dt="2023-03-02T18:05:22.194" v="145" actId="20577"/>
          <ac:spMkLst>
            <pc:docMk/>
            <pc:sldMk cId="3360724782" sldId="258"/>
            <ac:spMk id="39" creationId="{9A753998-4155-707F-EF86-D1E7C5DF430D}"/>
          </ac:spMkLst>
        </pc:spChg>
        <pc:spChg chg="mod">
          <ac:chgData name="Madhulika Chilla" userId="ZJVAAzZcd4ymH8sySy6lA9kl+TEW7yRfa1Bgv3A7CNA=" providerId="None" clId="Web-{2045E9EB-D44E-4C98-A014-63B849D492F7}" dt="2023-03-02T18:04:26.302" v="138" actId="1076"/>
          <ac:spMkLst>
            <pc:docMk/>
            <pc:sldMk cId="3360724782" sldId="258"/>
            <ac:spMk id="54" creationId="{95CC39BD-E89C-50CC-2E14-AE38B257182F}"/>
          </ac:spMkLst>
        </pc:spChg>
        <pc:spChg chg="mod">
          <ac:chgData name="Madhulika Chilla" userId="ZJVAAzZcd4ymH8sySy6lA9kl+TEW7yRfa1Bgv3A7CNA=" providerId="None" clId="Web-{2045E9EB-D44E-4C98-A014-63B849D492F7}" dt="2023-03-02T19:27:57.652" v="503" actId="1076"/>
          <ac:spMkLst>
            <pc:docMk/>
            <pc:sldMk cId="3360724782" sldId="258"/>
            <ac:spMk id="139" creationId="{0F4C935C-EAD3-8DE2-05B2-1C570C9E768D}"/>
          </ac:spMkLst>
        </pc:spChg>
        <pc:spChg chg="mod">
          <ac:chgData name="Madhulika Chilla" userId="ZJVAAzZcd4ymH8sySy6lA9kl+TEW7yRfa1Bgv3A7CNA=" providerId="None" clId="Web-{2045E9EB-D44E-4C98-A014-63B849D492F7}" dt="2023-03-02T18:04:37.568" v="139" actId="1076"/>
          <ac:spMkLst>
            <pc:docMk/>
            <pc:sldMk cId="3360724782" sldId="258"/>
            <ac:spMk id="147" creationId="{E9CBB567-F915-F5CA-C7B4-A8E99E86FF69}"/>
          </ac:spMkLst>
        </pc:spChg>
        <pc:spChg chg="mod">
          <ac:chgData name="Madhulika Chilla" userId="ZJVAAzZcd4ymH8sySy6lA9kl+TEW7yRfa1Bgv3A7CNA=" providerId="None" clId="Web-{2045E9EB-D44E-4C98-A014-63B849D492F7}" dt="2023-03-02T18:04:57.475" v="141" actId="1076"/>
          <ac:spMkLst>
            <pc:docMk/>
            <pc:sldMk cId="3360724782" sldId="258"/>
            <ac:spMk id="148" creationId="{B696DFE0-B8A6-03BA-6A71-2FF8A071B561}"/>
          </ac:spMkLst>
        </pc:spChg>
        <pc:spChg chg="mod">
          <ac:chgData name="Madhulika Chilla" userId="ZJVAAzZcd4ymH8sySy6lA9kl+TEW7yRfa1Bgv3A7CNA=" providerId="None" clId="Web-{2045E9EB-D44E-4C98-A014-63B849D492F7}" dt="2023-03-02T18:04:52.615" v="140" actId="1076"/>
          <ac:spMkLst>
            <pc:docMk/>
            <pc:sldMk cId="3360724782" sldId="258"/>
            <ac:spMk id="149" creationId="{6D51076E-43E5-DFFE-794E-E170F89E42D6}"/>
          </ac:spMkLst>
        </pc:spChg>
        <pc:spChg chg="mod">
          <ac:chgData name="Madhulika Chilla" userId="ZJVAAzZcd4ymH8sySy6lA9kl+TEW7yRfa1Bgv3A7CNA=" providerId="None" clId="Web-{2045E9EB-D44E-4C98-A014-63B849D492F7}" dt="2023-03-02T18:04:14.333" v="136" actId="1076"/>
          <ac:spMkLst>
            <pc:docMk/>
            <pc:sldMk cId="3360724782" sldId="258"/>
            <ac:spMk id="150" creationId="{098BDD7C-80C9-ECA7-E24D-7FAEC9D9A78C}"/>
          </ac:spMkLst>
        </pc:spChg>
        <pc:picChg chg="mod">
          <ac:chgData name="Madhulika Chilla" userId="ZJVAAzZcd4ymH8sySy6lA9kl+TEW7yRfa1Bgv3A7CNA=" providerId="None" clId="Web-{2045E9EB-D44E-4C98-A014-63B849D492F7}" dt="2023-03-02T18:03:02.379" v="128" actId="1076"/>
          <ac:picMkLst>
            <pc:docMk/>
            <pc:sldMk cId="3360724782" sldId="258"/>
            <ac:picMk id="11" creationId="{B1EEE942-BA5C-E7DF-111C-C345E19159F4}"/>
          </ac:picMkLst>
        </pc:picChg>
        <pc:picChg chg="mod">
          <ac:chgData name="Madhulika Chilla" userId="ZJVAAzZcd4ymH8sySy6lA9kl+TEW7yRfa1Bgv3A7CNA=" providerId="None" clId="Web-{2045E9EB-D44E-4C98-A014-63B849D492F7}" dt="2023-03-02T18:02:28.472" v="123" actId="1076"/>
          <ac:picMkLst>
            <pc:docMk/>
            <pc:sldMk cId="3360724782" sldId="258"/>
            <ac:picMk id="24" creationId="{2E06B2A6-DFB7-0B3A-333B-717B3AC28FB7}"/>
          </ac:picMkLst>
        </pc:picChg>
        <pc:picChg chg="add del mod">
          <ac:chgData name="Madhulika Chilla" userId="ZJVAAzZcd4ymH8sySy6lA9kl+TEW7yRfa1Bgv3A7CNA=" providerId="None" clId="Web-{2045E9EB-D44E-4C98-A014-63B849D492F7}" dt="2023-03-02T19:28:33.513" v="512"/>
          <ac:picMkLst>
            <pc:docMk/>
            <pc:sldMk cId="3360724782" sldId="258"/>
            <ac:picMk id="27" creationId="{72E272C2-2DDC-6B93-8491-7E400E82BF41}"/>
          </ac:picMkLst>
        </pc:picChg>
        <pc:picChg chg="add del mod">
          <ac:chgData name="Madhulika Chilla" userId="ZJVAAzZcd4ymH8sySy6lA9kl+TEW7yRfa1Bgv3A7CNA=" providerId="None" clId="Web-{2045E9EB-D44E-4C98-A014-63B849D492F7}" dt="2023-03-02T18:33:57.773" v="329"/>
          <ac:picMkLst>
            <pc:docMk/>
            <pc:sldMk cId="3360724782" sldId="258"/>
            <ac:picMk id="46" creationId="{97E01B65-DD76-5C45-40EF-B3FF3EB3CD40}"/>
          </ac:picMkLst>
        </pc:picChg>
        <pc:picChg chg="add del mod">
          <ac:chgData name="Madhulika Chilla" userId="ZJVAAzZcd4ymH8sySy6lA9kl+TEW7yRfa1Bgv3A7CNA=" providerId="None" clId="Web-{2045E9EB-D44E-4C98-A014-63B849D492F7}" dt="2023-03-02T19:31:32.158" v="546"/>
          <ac:picMkLst>
            <pc:docMk/>
            <pc:sldMk cId="3360724782" sldId="258"/>
            <ac:picMk id="46" creationId="{E0828C8D-AFF9-5DE0-726B-DF2E2197EEC9}"/>
          </ac:picMkLst>
        </pc:picChg>
        <pc:picChg chg="add mod">
          <ac:chgData name="Madhulika Chilla" userId="ZJVAAzZcd4ymH8sySy6lA9kl+TEW7yRfa1Bgv3A7CNA=" providerId="None" clId="Web-{2045E9EB-D44E-4C98-A014-63B849D492F7}" dt="2023-03-02T19:29:40.499" v="530" actId="1076"/>
          <ac:picMkLst>
            <pc:docMk/>
            <pc:sldMk cId="3360724782" sldId="258"/>
            <ac:picMk id="131" creationId="{E4192398-6989-2718-D480-C91DEA57C4A5}"/>
          </ac:picMkLst>
        </pc:picChg>
        <pc:picChg chg="mod">
          <ac:chgData name="Madhulika Chilla" userId="ZJVAAzZcd4ymH8sySy6lA9kl+TEW7yRfa1Bgv3A7CNA=" providerId="None" clId="Web-{2045E9EB-D44E-4C98-A014-63B849D492F7}" dt="2023-03-02T19:28:11.106" v="507" actId="1076"/>
          <ac:picMkLst>
            <pc:docMk/>
            <pc:sldMk cId="3360724782" sldId="258"/>
            <ac:picMk id="141" creationId="{808B0578-22E5-6B76-1DB4-A3B7795A13A9}"/>
          </ac:picMkLst>
        </pc:picChg>
      </pc:sldChg>
      <pc:sldChg chg="addSp modSp new del">
        <pc:chgData name="Madhulika Chilla" userId="ZJVAAzZcd4ymH8sySy6lA9kl+TEW7yRfa1Bgv3A7CNA=" providerId="None" clId="Web-{2045E9EB-D44E-4C98-A014-63B849D492F7}" dt="2023-03-02T18:05:11.881" v="142"/>
        <pc:sldMkLst>
          <pc:docMk/>
          <pc:sldMk cId="790791883" sldId="259"/>
        </pc:sldMkLst>
        <pc:spChg chg="add">
          <ac:chgData name="Madhulika Chilla" userId="ZJVAAzZcd4ymH8sySy6lA9kl+TEW7yRfa1Bgv3A7CNA=" providerId="None" clId="Web-{2045E9EB-D44E-4C98-A014-63B849D492F7}" dt="2023-03-02T17:52:30.758" v="3"/>
          <ac:spMkLst>
            <pc:docMk/>
            <pc:sldMk cId="790791883" sldId="259"/>
            <ac:spMk id="2" creationId="{CC5944A8-73FA-9D34-AE53-5E639E3764DE}"/>
          </ac:spMkLst>
        </pc:spChg>
        <pc:spChg chg="add mod">
          <ac:chgData name="Madhulika Chilla" userId="ZJVAAzZcd4ymH8sySy6lA9kl+TEW7yRfa1Bgv3A7CNA=" providerId="None" clId="Web-{2045E9EB-D44E-4C98-A014-63B849D492F7}" dt="2023-03-02T17:54:11.494" v="44" actId="20577"/>
          <ac:spMkLst>
            <pc:docMk/>
            <pc:sldMk cId="790791883" sldId="259"/>
            <ac:spMk id="3" creationId="{CC31A37D-A9E1-ED6B-10A5-07E381986470}"/>
          </ac:spMkLst>
        </pc:spChg>
        <pc:spChg chg="add mod">
          <ac:chgData name="Madhulika Chilla" userId="ZJVAAzZcd4ymH8sySy6lA9kl+TEW7yRfa1Bgv3A7CNA=" providerId="None" clId="Web-{2045E9EB-D44E-4C98-A014-63B849D492F7}" dt="2023-03-02T17:58:54.062" v="107" actId="20577"/>
          <ac:spMkLst>
            <pc:docMk/>
            <pc:sldMk cId="790791883" sldId="259"/>
            <ac:spMk id="4" creationId="{3D6F8277-3029-0CD0-D5A6-EDF2BD05123A}"/>
          </ac:spMkLst>
        </pc:spChg>
      </pc:sldChg>
      <pc:sldChg chg="addSp delSp modSp new">
        <pc:chgData name="Madhulika Chilla" userId="ZJVAAzZcd4ymH8sySy6lA9kl+TEW7yRfa1Bgv3A7CNA=" providerId="None" clId="Web-{2045E9EB-D44E-4C98-A014-63B849D492F7}" dt="2023-03-02T19:30:11.156" v="545"/>
        <pc:sldMkLst>
          <pc:docMk/>
          <pc:sldMk cId="819972125" sldId="259"/>
        </pc:sldMkLst>
        <pc:spChg chg="add mod">
          <ac:chgData name="Madhulika Chilla" userId="ZJVAAzZcd4ymH8sySy6lA9kl+TEW7yRfa1Bgv3A7CNA=" providerId="None" clId="Web-{2045E9EB-D44E-4C98-A014-63B849D492F7}" dt="2023-03-02T19:27:04.885" v="495" actId="1076"/>
          <ac:spMkLst>
            <pc:docMk/>
            <pc:sldMk cId="819972125" sldId="259"/>
            <ac:spMk id="2" creationId="{9E6D81B7-D048-16D1-8B9D-DE4AD05F7F6B}"/>
          </ac:spMkLst>
        </pc:spChg>
        <pc:spChg chg="add del mod">
          <ac:chgData name="Madhulika Chilla" userId="ZJVAAzZcd4ymH8sySy6lA9kl+TEW7yRfa1Bgv3A7CNA=" providerId="None" clId="Web-{2045E9EB-D44E-4C98-A014-63B849D492F7}" dt="2023-03-02T18:23:11.027" v="232"/>
          <ac:spMkLst>
            <pc:docMk/>
            <pc:sldMk cId="819972125" sldId="259"/>
            <ac:spMk id="5" creationId="{C8AE0958-65E2-6DDB-9EF2-4304E6DA3CC6}"/>
          </ac:spMkLst>
        </pc:spChg>
        <pc:spChg chg="add del mod">
          <ac:chgData name="Madhulika Chilla" userId="ZJVAAzZcd4ymH8sySy6lA9kl+TEW7yRfa1Bgv3A7CNA=" providerId="None" clId="Web-{2045E9EB-D44E-4C98-A014-63B849D492F7}" dt="2023-03-02T18:23:17.761" v="235"/>
          <ac:spMkLst>
            <pc:docMk/>
            <pc:sldMk cId="819972125" sldId="259"/>
            <ac:spMk id="6" creationId="{75818EE9-6E37-A64F-F707-E9A2FF2BEA99}"/>
          </ac:spMkLst>
        </pc:spChg>
        <pc:spChg chg="add mod">
          <ac:chgData name="Madhulika Chilla" userId="ZJVAAzZcd4ymH8sySy6lA9kl+TEW7yRfa1Bgv3A7CNA=" providerId="None" clId="Web-{2045E9EB-D44E-4C98-A014-63B849D492F7}" dt="2023-03-02T19:26:45.697" v="493" actId="1076"/>
          <ac:spMkLst>
            <pc:docMk/>
            <pc:sldMk cId="819972125" sldId="259"/>
            <ac:spMk id="7" creationId="{E2FA46AF-DE24-DAB2-6035-4E52A1AD6FFF}"/>
          </ac:spMkLst>
        </pc:spChg>
        <pc:spChg chg="add mod">
          <ac:chgData name="Madhulika Chilla" userId="ZJVAAzZcd4ymH8sySy6lA9kl+TEW7yRfa1Bgv3A7CNA=" providerId="None" clId="Web-{2045E9EB-D44E-4C98-A014-63B849D492F7}" dt="2023-03-02T19:07:46.480" v="410" actId="20577"/>
          <ac:spMkLst>
            <pc:docMk/>
            <pc:sldMk cId="819972125" sldId="259"/>
            <ac:spMk id="12" creationId="{5975F2CF-6930-F1A6-93B6-08FBD2002C00}"/>
          </ac:spMkLst>
        </pc:spChg>
        <pc:spChg chg="add mod">
          <ac:chgData name="Madhulika Chilla" userId="ZJVAAzZcd4ymH8sySy6lA9kl+TEW7yRfa1Bgv3A7CNA=" providerId="None" clId="Web-{2045E9EB-D44E-4C98-A014-63B849D492F7}" dt="2023-03-02T19:08:16.559" v="421" actId="1076"/>
          <ac:spMkLst>
            <pc:docMk/>
            <pc:sldMk cId="819972125" sldId="259"/>
            <ac:spMk id="13" creationId="{D302037B-1C77-25B0-B4D4-DED8BED529F7}"/>
          </ac:spMkLst>
        </pc:spChg>
        <pc:spChg chg="add del mod">
          <ac:chgData name="Madhulika Chilla" userId="ZJVAAzZcd4ymH8sySy6lA9kl+TEW7yRfa1Bgv3A7CNA=" providerId="None" clId="Web-{2045E9EB-D44E-4C98-A014-63B849D492F7}" dt="2023-03-02T19:29:10.685" v="524"/>
          <ac:spMkLst>
            <pc:docMk/>
            <pc:sldMk cId="819972125" sldId="259"/>
            <ac:spMk id="16" creationId="{17CDC137-AC3F-08EC-996C-B1F39E2E4DBE}"/>
          </ac:spMkLst>
        </pc:spChg>
        <pc:spChg chg="add del mod">
          <ac:chgData name="Madhulika Chilla" userId="ZJVAAzZcd4ymH8sySy6lA9kl+TEW7yRfa1Bgv3A7CNA=" providerId="None" clId="Web-{2045E9EB-D44E-4C98-A014-63B849D492F7}" dt="2023-03-02T19:30:01.062" v="541"/>
          <ac:spMkLst>
            <pc:docMk/>
            <pc:sldMk cId="819972125" sldId="259"/>
            <ac:spMk id="26" creationId="{375C2645-E696-34CD-BE11-DD147FFBC980}"/>
          </ac:spMkLst>
        </pc:spChg>
        <pc:spChg chg="add del mod">
          <ac:chgData name="Madhulika Chilla" userId="ZJVAAzZcd4ymH8sySy6lA9kl+TEW7yRfa1Bgv3A7CNA=" providerId="None" clId="Web-{2045E9EB-D44E-4C98-A014-63B849D492F7}" dt="2023-03-02T19:30:00.140" v="540"/>
          <ac:spMkLst>
            <pc:docMk/>
            <pc:sldMk cId="819972125" sldId="259"/>
            <ac:spMk id="27" creationId="{29E071EA-07AD-4288-BDAB-FF9DC2E96135}"/>
          </ac:spMkLst>
        </pc:spChg>
        <pc:spChg chg="add del mod">
          <ac:chgData name="Madhulika Chilla" userId="ZJVAAzZcd4ymH8sySy6lA9kl+TEW7yRfa1Bgv3A7CNA=" providerId="None" clId="Web-{2045E9EB-D44E-4C98-A014-63B849D492F7}" dt="2023-03-02T19:05:05.507" v="354"/>
          <ac:spMkLst>
            <pc:docMk/>
            <pc:sldMk cId="819972125" sldId="259"/>
            <ac:spMk id="28" creationId="{2AEFF743-436F-B6D2-BB81-BFD7D0500826}"/>
          </ac:spMkLst>
        </pc:spChg>
        <pc:spChg chg="add del mod">
          <ac:chgData name="Madhulika Chilla" userId="ZJVAAzZcd4ymH8sySy6lA9kl+TEW7yRfa1Bgv3A7CNA=" providerId="None" clId="Web-{2045E9EB-D44E-4C98-A014-63B849D492F7}" dt="2023-03-02T19:05:13.741" v="355"/>
          <ac:spMkLst>
            <pc:docMk/>
            <pc:sldMk cId="819972125" sldId="259"/>
            <ac:spMk id="29" creationId="{A0506F84-C742-F9C1-02EE-195FB5BDB816}"/>
          </ac:spMkLst>
        </pc:spChg>
        <pc:spChg chg="add del mod">
          <ac:chgData name="Madhulika Chilla" userId="ZJVAAzZcd4ymH8sySy6lA9kl+TEW7yRfa1Bgv3A7CNA=" providerId="None" clId="Web-{2045E9EB-D44E-4C98-A014-63B849D492F7}" dt="2023-03-02T19:30:02.937" v="542"/>
          <ac:spMkLst>
            <pc:docMk/>
            <pc:sldMk cId="819972125" sldId="259"/>
            <ac:spMk id="30" creationId="{909B39BB-C28F-20AF-EE55-3E695D516C21}"/>
          </ac:spMkLst>
        </pc:spChg>
        <pc:spChg chg="add del mod">
          <ac:chgData name="Madhulika Chilla" userId="ZJVAAzZcd4ymH8sySy6lA9kl+TEW7yRfa1Bgv3A7CNA=" providerId="None" clId="Web-{2045E9EB-D44E-4C98-A014-63B849D492F7}" dt="2023-03-02T19:30:06.609" v="543"/>
          <ac:spMkLst>
            <pc:docMk/>
            <pc:sldMk cId="819972125" sldId="259"/>
            <ac:spMk id="31" creationId="{F89EFFB2-71BF-C2EC-42DE-2FAF8B88A453}"/>
          </ac:spMkLst>
        </pc:spChg>
        <pc:picChg chg="add del mod">
          <ac:chgData name="Madhulika Chilla" userId="ZJVAAzZcd4ymH8sySy6lA9kl+TEW7yRfa1Bgv3A7CNA=" providerId="None" clId="Web-{2045E9EB-D44E-4C98-A014-63B849D492F7}" dt="2023-03-02T18:25:16.873" v="267"/>
          <ac:picMkLst>
            <pc:docMk/>
            <pc:sldMk cId="819972125" sldId="259"/>
            <ac:picMk id="3" creationId="{75F65AB1-C59A-984E-0233-FD35ACD19D1C}"/>
          </ac:picMkLst>
        </pc:picChg>
        <pc:picChg chg="add mod">
          <ac:chgData name="Madhulika Chilla" userId="ZJVAAzZcd4ymH8sySy6lA9kl+TEW7yRfa1Bgv3A7CNA=" providerId="None" clId="Web-{2045E9EB-D44E-4C98-A014-63B849D492F7}" dt="2023-03-02T19:04:50.881" v="349" actId="14100"/>
          <ac:picMkLst>
            <pc:docMk/>
            <pc:sldMk cId="819972125" sldId="259"/>
            <ac:picMk id="3" creationId="{A52AFB30-1995-43DC-CAD1-1C23666440B8}"/>
          </ac:picMkLst>
        </pc:picChg>
        <pc:picChg chg="add mod">
          <ac:chgData name="Madhulika Chilla" userId="ZJVAAzZcd4ymH8sySy6lA9kl+TEW7yRfa1Bgv3A7CNA=" providerId="None" clId="Web-{2045E9EB-D44E-4C98-A014-63B849D492F7}" dt="2023-03-02T19:29:06.935" v="522" actId="1076"/>
          <ac:picMkLst>
            <pc:docMk/>
            <pc:sldMk cId="819972125" sldId="259"/>
            <ac:picMk id="4" creationId="{400A9485-1841-4802-55AE-79895879528C}"/>
          </ac:picMkLst>
        </pc:picChg>
        <pc:picChg chg="add del mod">
          <ac:chgData name="Madhulika Chilla" userId="ZJVAAzZcd4ymH8sySy6lA9kl+TEW7yRfa1Bgv3A7CNA=" providerId="None" clId="Web-{2045E9EB-D44E-4C98-A014-63B849D492F7}" dt="2023-03-02T19:04:55.366" v="351"/>
          <ac:picMkLst>
            <pc:docMk/>
            <pc:sldMk cId="819972125" sldId="259"/>
            <ac:picMk id="5" creationId="{A988220F-A10A-59E4-1784-1AA9150ED9D5}"/>
          </ac:picMkLst>
        </pc:picChg>
        <pc:picChg chg="add mod">
          <ac:chgData name="Madhulika Chilla" userId="ZJVAAzZcd4ymH8sySy6lA9kl+TEW7yRfa1Bgv3A7CNA=" providerId="None" clId="Web-{2045E9EB-D44E-4C98-A014-63B849D492F7}" dt="2023-03-02T19:05:03.147" v="353" actId="1076"/>
          <ac:picMkLst>
            <pc:docMk/>
            <pc:sldMk cId="819972125" sldId="259"/>
            <ac:picMk id="6" creationId="{5DEAB35C-E943-152F-4CDA-8BCDE39266F3}"/>
          </ac:picMkLst>
        </pc:picChg>
        <pc:picChg chg="add del mod">
          <ac:chgData name="Madhulika Chilla" userId="ZJVAAzZcd4ymH8sySy6lA9kl+TEW7yRfa1Bgv3A7CNA=" providerId="None" clId="Web-{2045E9EB-D44E-4C98-A014-63B849D492F7}" dt="2023-03-02T18:20:02.226" v="206"/>
          <ac:picMkLst>
            <pc:docMk/>
            <pc:sldMk cId="819972125" sldId="259"/>
            <ac:picMk id="8" creationId="{C9BFF291-9D8D-E2F8-C85C-1306E8CD0A38}"/>
          </ac:picMkLst>
        </pc:picChg>
        <pc:picChg chg="add del mod">
          <ac:chgData name="Madhulika Chilla" userId="ZJVAAzZcd4ymH8sySy6lA9kl+TEW7yRfa1Bgv3A7CNA=" providerId="None" clId="Web-{2045E9EB-D44E-4C98-A014-63B849D492F7}" dt="2023-03-02T19:30:08.156" v="544"/>
          <ac:picMkLst>
            <pc:docMk/>
            <pc:sldMk cId="819972125" sldId="259"/>
            <ac:picMk id="9" creationId="{DD916B92-38D1-A31E-4BE8-12593B2CE878}"/>
          </ac:picMkLst>
        </pc:picChg>
        <pc:picChg chg="add del mod">
          <ac:chgData name="Madhulika Chilla" userId="ZJVAAzZcd4ymH8sySy6lA9kl+TEW7yRfa1Bgv3A7CNA=" providerId="None" clId="Web-{2045E9EB-D44E-4C98-A014-63B849D492F7}" dt="2023-03-02T19:29:51.468" v="531"/>
          <ac:picMkLst>
            <pc:docMk/>
            <pc:sldMk cId="819972125" sldId="259"/>
            <ac:picMk id="10" creationId="{2DC9C73F-D6DB-279E-BC26-88C4AF66C5B2}"/>
          </ac:picMkLst>
        </pc:picChg>
        <pc:picChg chg="add del mod">
          <ac:chgData name="Madhulika Chilla" userId="ZJVAAzZcd4ymH8sySy6lA9kl+TEW7yRfa1Bgv3A7CNA=" providerId="None" clId="Web-{2045E9EB-D44E-4C98-A014-63B849D492F7}" dt="2023-03-02T18:23:47.480" v="252"/>
          <ac:picMkLst>
            <pc:docMk/>
            <pc:sldMk cId="819972125" sldId="259"/>
            <ac:picMk id="11" creationId="{F39B9B2E-2616-5CCD-C6BD-9436E99812A6}"/>
          </ac:picMkLst>
        </pc:picChg>
        <pc:picChg chg="add del mod">
          <ac:chgData name="Madhulika Chilla" userId="ZJVAAzZcd4ymH8sySy6lA9kl+TEW7yRfa1Bgv3A7CNA=" providerId="None" clId="Web-{2045E9EB-D44E-4C98-A014-63B849D492F7}" dt="2023-03-02T18:23:50.496" v="254"/>
          <ac:picMkLst>
            <pc:docMk/>
            <pc:sldMk cId="819972125" sldId="259"/>
            <ac:picMk id="12" creationId="{EB9591F1-6846-D778-B740-32BEF47430CF}"/>
          </ac:picMkLst>
        </pc:picChg>
        <pc:picChg chg="add del mod">
          <ac:chgData name="Madhulika Chilla" userId="ZJVAAzZcd4ymH8sySy6lA9kl+TEW7yRfa1Bgv3A7CNA=" providerId="None" clId="Web-{2045E9EB-D44E-4C98-A014-63B849D492F7}" dt="2023-03-02T18:23:49.262" v="253"/>
          <ac:picMkLst>
            <pc:docMk/>
            <pc:sldMk cId="819972125" sldId="259"/>
            <ac:picMk id="13" creationId="{92163312-63A6-95B3-CDAF-982A44ECC475}"/>
          </ac:picMkLst>
        </pc:picChg>
        <pc:picChg chg="add del mod">
          <ac:chgData name="Madhulika Chilla" userId="ZJVAAzZcd4ymH8sySy6lA9kl+TEW7yRfa1Bgv3A7CNA=" providerId="None" clId="Web-{2045E9EB-D44E-4C98-A014-63B849D492F7}" dt="2023-03-02T19:29:53.608" v="533"/>
          <ac:picMkLst>
            <pc:docMk/>
            <pc:sldMk cId="819972125" sldId="259"/>
            <ac:picMk id="14" creationId="{AEC3E2B9-BC57-1EDF-EA49-76F9B37D94E7}"/>
          </ac:picMkLst>
        </pc:picChg>
        <pc:picChg chg="add del mod">
          <ac:chgData name="Madhulika Chilla" userId="ZJVAAzZcd4ymH8sySy6lA9kl+TEW7yRfa1Bgv3A7CNA=" providerId="None" clId="Web-{2045E9EB-D44E-4C98-A014-63B849D492F7}" dt="2023-03-02T19:29:52.608" v="532"/>
          <ac:picMkLst>
            <pc:docMk/>
            <pc:sldMk cId="819972125" sldId="259"/>
            <ac:picMk id="15" creationId="{F73BC726-985B-8229-2E49-2D019DE807C2}"/>
          </ac:picMkLst>
        </pc:picChg>
        <pc:picChg chg="add del mod">
          <ac:chgData name="Madhulika Chilla" userId="ZJVAAzZcd4ymH8sySy6lA9kl+TEW7yRfa1Bgv3A7CNA=" providerId="None" clId="Web-{2045E9EB-D44E-4C98-A014-63B849D492F7}" dt="2023-03-02T18:24:17.106" v="262"/>
          <ac:picMkLst>
            <pc:docMk/>
            <pc:sldMk cId="819972125" sldId="259"/>
            <ac:picMk id="16" creationId="{AC031499-314F-3775-D3BA-F7D4FD7F00C8}"/>
          </ac:picMkLst>
        </pc:picChg>
        <pc:picChg chg="add del mod">
          <ac:chgData name="Madhulika Chilla" userId="ZJVAAzZcd4ymH8sySy6lA9kl+TEW7yRfa1Bgv3A7CNA=" providerId="None" clId="Web-{2045E9EB-D44E-4C98-A014-63B849D492F7}" dt="2023-03-02T19:29:54.515" v="534"/>
          <ac:picMkLst>
            <pc:docMk/>
            <pc:sldMk cId="819972125" sldId="259"/>
            <ac:picMk id="17" creationId="{5772A21E-153F-B68D-D645-93C079230A0E}"/>
          </ac:picMkLst>
        </pc:picChg>
        <pc:picChg chg="add del mod">
          <ac:chgData name="Madhulika Chilla" userId="ZJVAAzZcd4ymH8sySy6lA9kl+TEW7yRfa1Bgv3A7CNA=" providerId="None" clId="Web-{2045E9EB-D44E-4C98-A014-63B849D492F7}" dt="2023-03-02T19:29:58.124" v="538"/>
          <ac:picMkLst>
            <pc:docMk/>
            <pc:sldMk cId="819972125" sldId="259"/>
            <ac:picMk id="18" creationId="{7C269224-51FE-B54F-A2BB-1ED7A11E1C01}"/>
          </ac:picMkLst>
        </pc:picChg>
        <pc:picChg chg="add del mod">
          <ac:chgData name="Madhulika Chilla" userId="ZJVAAzZcd4ymH8sySy6lA9kl+TEW7yRfa1Bgv3A7CNA=" providerId="None" clId="Web-{2045E9EB-D44E-4C98-A014-63B849D492F7}" dt="2023-03-02T19:29:58.999" v="539"/>
          <ac:picMkLst>
            <pc:docMk/>
            <pc:sldMk cId="819972125" sldId="259"/>
            <ac:picMk id="19" creationId="{CC39A9A0-5B05-0198-E48F-D0768FE2008A}"/>
          </ac:picMkLst>
        </pc:picChg>
        <pc:picChg chg="add del mod">
          <ac:chgData name="Madhulika Chilla" userId="ZJVAAzZcd4ymH8sySy6lA9kl+TEW7yRfa1Bgv3A7CNA=" providerId="None" clId="Web-{2045E9EB-D44E-4C98-A014-63B849D492F7}" dt="2023-03-02T19:29:56.265" v="536"/>
          <ac:picMkLst>
            <pc:docMk/>
            <pc:sldMk cId="819972125" sldId="259"/>
            <ac:picMk id="20" creationId="{423445E8-2682-CCBA-0743-986E84103236}"/>
          </ac:picMkLst>
        </pc:picChg>
        <pc:picChg chg="add del mod">
          <ac:chgData name="Madhulika Chilla" userId="ZJVAAzZcd4ymH8sySy6lA9kl+TEW7yRfa1Bgv3A7CNA=" providerId="None" clId="Web-{2045E9EB-D44E-4C98-A014-63B849D492F7}" dt="2023-03-02T19:29:55.374" v="535"/>
          <ac:picMkLst>
            <pc:docMk/>
            <pc:sldMk cId="819972125" sldId="259"/>
            <ac:picMk id="21" creationId="{DCC2EFA0-A471-86AC-FE17-1C9069612845}"/>
          </ac:picMkLst>
        </pc:picChg>
        <pc:picChg chg="add del mod">
          <ac:chgData name="Madhulika Chilla" userId="ZJVAAzZcd4ymH8sySy6lA9kl+TEW7yRfa1Bgv3A7CNA=" providerId="None" clId="Web-{2045E9EB-D44E-4C98-A014-63B849D492F7}" dt="2023-03-02T19:29:57.265" v="537"/>
          <ac:picMkLst>
            <pc:docMk/>
            <pc:sldMk cId="819972125" sldId="259"/>
            <ac:picMk id="22" creationId="{C2BB2F9E-9F64-CB9A-2249-86C4C2311D88}"/>
          </ac:picMkLst>
        </pc:picChg>
        <pc:picChg chg="add del mod">
          <ac:chgData name="Madhulika Chilla" userId="ZJVAAzZcd4ymH8sySy6lA9kl+TEW7yRfa1Bgv3A7CNA=" providerId="None" clId="Web-{2045E9EB-D44E-4C98-A014-63B849D492F7}" dt="2023-03-02T19:28:58.576" v="519"/>
          <ac:picMkLst>
            <pc:docMk/>
            <pc:sldMk cId="819972125" sldId="259"/>
            <ac:picMk id="23" creationId="{ADF03047-916B-5657-0423-5560140298AD}"/>
          </ac:picMkLst>
        </pc:picChg>
        <pc:picChg chg="add del mod">
          <ac:chgData name="Madhulika Chilla" userId="ZJVAAzZcd4ymH8sySy6lA9kl+TEW7yRfa1Bgv3A7CNA=" providerId="None" clId="Web-{2045E9EB-D44E-4C98-A014-63B849D492F7}" dt="2023-03-02T19:30:11.156" v="545"/>
          <ac:picMkLst>
            <pc:docMk/>
            <pc:sldMk cId="819972125" sldId="259"/>
            <ac:picMk id="32" creationId="{6D195C59-49C1-E924-F29D-947E7DA2CED1}"/>
          </ac:picMkLst>
        </pc:picChg>
        <pc:picChg chg="add del mod">
          <ac:chgData name="Madhulika Chilla" userId="ZJVAAzZcd4ymH8sySy6lA9kl+TEW7yRfa1Bgv3A7CNA=" providerId="None" clId="Web-{2045E9EB-D44E-4C98-A014-63B849D492F7}" dt="2023-03-02T18:40:30.374" v="339"/>
          <ac:picMkLst>
            <pc:docMk/>
            <pc:sldMk cId="819972125" sldId="259"/>
            <ac:picMk id="33" creationId="{3B5C939D-48E7-3D47-8DC5-0B3E4056F0C9}"/>
          </ac:picMkLst>
        </pc:picChg>
        <pc:picChg chg="add del mod">
          <ac:chgData name="Madhulika Chilla" userId="ZJVAAzZcd4ymH8sySy6lA9kl+TEW7yRfa1Bgv3A7CNA=" providerId="None" clId="Web-{2045E9EB-D44E-4C98-A014-63B849D492F7}" dt="2023-03-02T18:41:08.078" v="344"/>
          <ac:picMkLst>
            <pc:docMk/>
            <pc:sldMk cId="819972125" sldId="259"/>
            <ac:picMk id="34" creationId="{F151ABD3-3B54-B728-E698-E2C54ACC5EA9}"/>
          </ac:picMkLst>
        </pc:picChg>
        <pc:cxnChg chg="add mod">
          <ac:chgData name="Madhulika Chilla" userId="ZJVAAzZcd4ymH8sySy6lA9kl+TEW7yRfa1Bgv3A7CNA=" providerId="None" clId="Web-{2045E9EB-D44E-4C98-A014-63B849D492F7}" dt="2023-03-02T19:06:31.634" v="371" actId="14100"/>
          <ac:cxnSpMkLst>
            <pc:docMk/>
            <pc:sldMk cId="819972125" sldId="259"/>
            <ac:cxnSpMk id="8" creationId="{9172943D-6BD6-1DC1-E10C-63B4288CA450}"/>
          </ac:cxnSpMkLst>
        </pc:cxnChg>
        <pc:cxnChg chg="add mod">
          <ac:chgData name="Madhulika Chilla" userId="ZJVAAzZcd4ymH8sySy6lA9kl+TEW7yRfa1Bgv3A7CNA=" providerId="None" clId="Web-{2045E9EB-D44E-4C98-A014-63B849D492F7}" dt="2023-03-02T19:26:09.462" v="488" actId="1076"/>
          <ac:cxnSpMkLst>
            <pc:docMk/>
            <pc:sldMk cId="819972125" sldId="259"/>
            <ac:cxnSpMk id="11" creationId="{CD8C1F95-7D13-3553-A310-C5633BED4486}"/>
          </ac:cxnSpMkLst>
        </pc:cxnChg>
        <pc:cxnChg chg="add del mod">
          <ac:chgData name="Madhulika Chilla" userId="ZJVAAzZcd4ymH8sySy6lA9kl+TEW7yRfa1Bgv3A7CNA=" providerId="None" clId="Web-{2045E9EB-D44E-4C98-A014-63B849D492F7}" dt="2023-03-02T18:27:23.266" v="286"/>
          <ac:cxnSpMkLst>
            <pc:docMk/>
            <pc:sldMk cId="819972125" sldId="259"/>
            <ac:cxnSpMk id="23" creationId="{D35DB444-C1D8-E39E-25B5-1EBC1A1D6AEC}"/>
          </ac:cxnSpMkLst>
        </pc:cxnChg>
        <pc:cxnChg chg="add del mod">
          <ac:chgData name="Madhulika Chilla" userId="ZJVAAzZcd4ymH8sySy6lA9kl+TEW7yRfa1Bgv3A7CNA=" providerId="None" clId="Web-{2045E9EB-D44E-4C98-A014-63B849D492F7}" dt="2023-03-02T18:27:24.656" v="287"/>
          <ac:cxnSpMkLst>
            <pc:docMk/>
            <pc:sldMk cId="819972125" sldId="259"/>
            <ac:cxnSpMk id="24" creationId="{B466F029-ACF8-0B1E-CE17-825A41FB5C99}"/>
          </ac:cxnSpMkLst>
        </pc:cxnChg>
        <pc:cxnChg chg="add del mod">
          <ac:chgData name="Madhulika Chilla" userId="ZJVAAzZcd4ymH8sySy6lA9kl+TEW7yRfa1Bgv3A7CNA=" providerId="None" clId="Web-{2045E9EB-D44E-4C98-A014-63B849D492F7}" dt="2023-03-02T18:27:48.829" v="292"/>
          <ac:cxnSpMkLst>
            <pc:docMk/>
            <pc:sldMk cId="819972125" sldId="259"/>
            <ac:cxnSpMk id="25" creationId="{168D6050-48C5-0E42-3CCC-707BC80451AE}"/>
          </ac:cxnSpMkLst>
        </pc:cxnChg>
      </pc:sldChg>
      <pc:sldChg chg="add del replId">
        <pc:chgData name="Madhulika Chilla" userId="ZJVAAzZcd4ymH8sySy6lA9kl+TEW7yRfa1Bgv3A7CNA=" providerId="None" clId="Web-{2045E9EB-D44E-4C98-A014-63B849D492F7}" dt="2023-03-02T19:27:28.511" v="497"/>
        <pc:sldMkLst>
          <pc:docMk/>
          <pc:sldMk cId="2813782937" sldId="260"/>
        </pc:sldMkLst>
      </pc:sldChg>
    </pc:docChg>
  </pc:docChgLst>
  <pc:docChgLst>
    <pc:chgData name="Madhulika Chilla" clId="Web-{7A669802-9B53-4C32-B398-3C0DF010205A}"/>
    <pc:docChg chg="addSld delSld modSld">
      <pc:chgData name="Madhulika Chilla" userId="" providerId="" clId="Web-{7A669802-9B53-4C32-B398-3C0DF010205A}" dt="2023-03-02T03:41:02.008" v="382"/>
      <pc:docMkLst>
        <pc:docMk/>
      </pc:docMkLst>
      <pc:sldChg chg="addSp delSp modSp">
        <pc:chgData name="Madhulika Chilla" userId="" providerId="" clId="Web-{7A669802-9B53-4C32-B398-3C0DF010205A}" dt="2023-03-02T03:39:15.568" v="381" actId="1076"/>
        <pc:sldMkLst>
          <pc:docMk/>
          <pc:sldMk cId="3360724782" sldId="258"/>
        </pc:sldMkLst>
        <pc:spChg chg="add mod">
          <ac:chgData name="Madhulika Chilla" userId="" providerId="" clId="Web-{7A669802-9B53-4C32-B398-3C0DF010205A}" dt="2023-03-02T02:40:52.448" v="35" actId="1076"/>
          <ac:spMkLst>
            <pc:docMk/>
            <pc:sldMk cId="3360724782" sldId="258"/>
            <ac:spMk id="5" creationId="{316EFE2F-7A95-6E60-65C8-90D1DE12AB68}"/>
          </ac:spMkLst>
        </pc:spChg>
        <pc:spChg chg="add del mod">
          <ac:chgData name="Madhulika Chilla" userId="" providerId="" clId="Web-{7A669802-9B53-4C32-B398-3C0DF010205A}" dt="2023-03-02T02:57:46.867" v="98"/>
          <ac:spMkLst>
            <pc:docMk/>
            <pc:sldMk cId="3360724782" sldId="258"/>
            <ac:spMk id="9" creationId="{E2C37F09-D52C-3D9B-EE33-CA30164D841C}"/>
          </ac:spMkLst>
        </pc:spChg>
        <pc:spChg chg="mod">
          <ac:chgData name="Madhulika Chilla" userId="" providerId="" clId="Web-{7A669802-9B53-4C32-B398-3C0DF010205A}" dt="2023-03-02T03:01:01.483" v="107" actId="1076"/>
          <ac:spMkLst>
            <pc:docMk/>
            <pc:sldMk cId="3360724782" sldId="258"/>
            <ac:spMk id="32" creationId="{6C5AF01D-8062-34BF-E0CB-1366E8925210}"/>
          </ac:spMkLst>
        </pc:spChg>
        <pc:spChg chg="mod">
          <ac:chgData name="Madhulika Chilla" userId="" providerId="" clId="Web-{7A669802-9B53-4C32-B398-3C0DF010205A}" dt="2023-03-02T03:20:26.219" v="285" actId="20577"/>
          <ac:spMkLst>
            <pc:docMk/>
            <pc:sldMk cId="3360724782" sldId="258"/>
            <ac:spMk id="39" creationId="{9A753998-4155-707F-EF86-D1E7C5DF430D}"/>
          </ac:spMkLst>
        </pc:spChg>
        <pc:spChg chg="mod">
          <ac:chgData name="Madhulika Chilla" userId="" providerId="" clId="Web-{7A669802-9B53-4C32-B398-3C0DF010205A}" dt="2023-03-02T03:00:51.858" v="105" actId="1076"/>
          <ac:spMkLst>
            <pc:docMk/>
            <pc:sldMk cId="3360724782" sldId="258"/>
            <ac:spMk id="40" creationId="{57FD5D5C-0664-2608-0171-4C358AC4EC69}"/>
          </ac:spMkLst>
        </pc:spChg>
        <pc:spChg chg="mod">
          <ac:chgData name="Madhulika Chilla" userId="" providerId="" clId="Web-{7A669802-9B53-4C32-B398-3C0DF010205A}" dt="2023-03-02T03:39:15.568" v="381" actId="1076"/>
          <ac:spMkLst>
            <pc:docMk/>
            <pc:sldMk cId="3360724782" sldId="258"/>
            <ac:spMk id="42" creationId="{20B4E8FD-7841-8DC6-3B12-49614BBD54CE}"/>
          </ac:spMkLst>
        </pc:spChg>
        <pc:spChg chg="add mod">
          <ac:chgData name="Madhulika Chilla" userId="" providerId="" clId="Web-{7A669802-9B53-4C32-B398-3C0DF010205A}" dt="2023-03-02T03:03:46.550" v="138" actId="1076"/>
          <ac:spMkLst>
            <pc:docMk/>
            <pc:sldMk cId="3360724782" sldId="258"/>
            <ac:spMk id="59" creationId="{0BE5FD8F-113B-C40F-12A1-207795A5463A}"/>
          </ac:spMkLst>
        </pc:spChg>
        <pc:spChg chg="mod">
          <ac:chgData name="Madhulika Chilla" userId="" providerId="" clId="Web-{7A669802-9B53-4C32-B398-3C0DF010205A}" dt="2023-03-02T02:37:11.489" v="15" actId="20577"/>
          <ac:spMkLst>
            <pc:docMk/>
            <pc:sldMk cId="3360724782" sldId="258"/>
            <ac:spMk id="62" creationId="{927C2E25-83BD-8CB1-1451-E0281F87F9B9}"/>
          </ac:spMkLst>
        </pc:spChg>
        <pc:spChg chg="add mod">
          <ac:chgData name="Madhulika Chilla" userId="" providerId="" clId="Web-{7A669802-9B53-4C32-B398-3C0DF010205A}" dt="2023-03-02T03:35:32.874" v="380" actId="1076"/>
          <ac:spMkLst>
            <pc:docMk/>
            <pc:sldMk cId="3360724782" sldId="258"/>
            <ac:spMk id="129" creationId="{2909827D-499F-01A4-E875-E62CB84FB2C6}"/>
          </ac:spMkLst>
        </pc:spChg>
        <pc:picChg chg="add mod">
          <ac:chgData name="Madhulika Chilla" userId="" providerId="" clId="Web-{7A669802-9B53-4C32-B398-3C0DF010205A}" dt="2023-03-02T02:55:17.894" v="84" actId="1076"/>
          <ac:picMkLst>
            <pc:docMk/>
            <pc:sldMk cId="3360724782" sldId="258"/>
            <ac:picMk id="3" creationId="{B79C1929-97E9-B796-A0E8-E913344C840B}"/>
          </ac:picMkLst>
        </pc:picChg>
        <pc:picChg chg="add del mod">
          <ac:chgData name="Madhulika Chilla" userId="" providerId="" clId="Web-{7A669802-9B53-4C32-B398-3C0DF010205A}" dt="2023-03-02T02:51:31.044" v="52"/>
          <ac:picMkLst>
            <pc:docMk/>
            <pc:sldMk cId="3360724782" sldId="258"/>
            <ac:picMk id="20" creationId="{71206CF2-DD90-263B-17C7-4272DB1E33B4}"/>
          </ac:picMkLst>
        </pc:picChg>
        <pc:picChg chg="add del mod">
          <ac:chgData name="Madhulika Chilla" userId="" providerId="" clId="Web-{7A669802-9B53-4C32-B398-3C0DF010205A}" dt="2023-03-02T02:55:46.098" v="85"/>
          <ac:picMkLst>
            <pc:docMk/>
            <pc:sldMk cId="3360724782" sldId="258"/>
            <ac:picMk id="20" creationId="{EB96DA03-AB03-5C89-4ED6-69846C3CEEB0}"/>
          </ac:picMkLst>
        </pc:picChg>
        <pc:picChg chg="mod">
          <ac:chgData name="Madhulika Chilla" userId="" providerId="" clId="Web-{7A669802-9B53-4C32-B398-3C0DF010205A}" dt="2023-03-02T02:37:39.271" v="19" actId="1076"/>
          <ac:picMkLst>
            <pc:docMk/>
            <pc:sldMk cId="3360724782" sldId="258"/>
            <ac:picMk id="21" creationId="{9310AF25-9E64-918C-E1EE-D2581D3F9D18}"/>
          </ac:picMkLst>
        </pc:picChg>
        <pc:picChg chg="add del mod">
          <ac:chgData name="Madhulika Chilla" userId="" providerId="" clId="Web-{7A669802-9B53-4C32-B398-3C0DF010205A}" dt="2023-03-02T02:53:03.391" v="65"/>
          <ac:picMkLst>
            <pc:docMk/>
            <pc:sldMk cId="3360724782" sldId="258"/>
            <ac:picMk id="46" creationId="{29AA8187-ED8D-541C-BE43-7C10380F5F42}"/>
          </ac:picMkLst>
        </pc:picChg>
        <pc:picChg chg="add del mod">
          <ac:chgData name="Madhulika Chilla" userId="" providerId="" clId="Web-{7A669802-9B53-4C32-B398-3C0DF010205A}" dt="2023-03-02T02:56:34.631" v="90"/>
          <ac:picMkLst>
            <pc:docMk/>
            <pc:sldMk cId="3360724782" sldId="258"/>
            <ac:picMk id="46" creationId="{E6ED2C18-832B-AB6B-C9A6-12E77B2FB78E}"/>
          </ac:picMkLst>
        </pc:picChg>
        <pc:picChg chg="add del mod">
          <ac:chgData name="Madhulika Chilla" userId="" providerId="" clId="Web-{7A669802-9B53-4C32-B398-3C0DF010205A}" dt="2023-03-02T02:54:08.174" v="71"/>
          <ac:picMkLst>
            <pc:docMk/>
            <pc:sldMk cId="3360724782" sldId="258"/>
            <ac:picMk id="55" creationId="{3AD437C2-A375-C18C-F8B0-BB0183619568}"/>
          </ac:picMkLst>
        </pc:picChg>
        <pc:picChg chg="add mod">
          <ac:chgData name="Madhulika Chilla" userId="" providerId="" clId="Web-{7A669802-9B53-4C32-B398-3C0DF010205A}" dt="2023-03-02T02:56:56.288" v="96" actId="14100"/>
          <ac:picMkLst>
            <pc:docMk/>
            <pc:sldMk cId="3360724782" sldId="258"/>
            <ac:picMk id="55" creationId="{E0540B3D-4071-0235-6AB5-ECC8189FAE8A}"/>
          </ac:picMkLst>
        </pc:picChg>
        <pc:picChg chg="add mod">
          <ac:chgData name="Madhulika Chilla" userId="" providerId="" clId="Web-{7A669802-9B53-4C32-B398-3C0DF010205A}" dt="2023-03-02T02:56:52.209" v="95" actId="14100"/>
          <ac:picMkLst>
            <pc:docMk/>
            <pc:sldMk cId="3360724782" sldId="258"/>
            <ac:picMk id="57" creationId="{7F2C2302-FE23-DC48-6549-B8C1817A9767}"/>
          </ac:picMkLst>
        </pc:picChg>
        <pc:picChg chg="mod">
          <ac:chgData name="Madhulika Chilla" userId="" providerId="" clId="Web-{7A669802-9B53-4C32-B398-3C0DF010205A}" dt="2023-03-02T02:59:45.480" v="100" actId="1076"/>
          <ac:picMkLst>
            <pc:docMk/>
            <pc:sldMk cId="3360724782" sldId="258"/>
            <ac:picMk id="141" creationId="{808B0578-22E5-6B76-1DB4-A3B7795A13A9}"/>
          </ac:picMkLst>
        </pc:picChg>
      </pc:sldChg>
      <pc:sldChg chg="addSp delSp modSp new del">
        <pc:chgData name="Madhulika Chilla" userId="" providerId="" clId="Web-{7A669802-9B53-4C32-B398-3C0DF010205A}" dt="2023-03-02T03:41:02.008" v="382"/>
        <pc:sldMkLst>
          <pc:docMk/>
          <pc:sldMk cId="3902462138" sldId="259"/>
        </pc:sldMkLst>
        <pc:spChg chg="add mod">
          <ac:chgData name="Madhulika Chilla" userId="" providerId="" clId="Web-{7A669802-9B53-4C32-B398-3C0DF010205A}" dt="2023-03-02T03:33:07.103" v="341" actId="20577"/>
          <ac:spMkLst>
            <pc:docMk/>
            <pc:sldMk cId="3902462138" sldId="259"/>
            <ac:spMk id="4" creationId="{529C4782-D551-7FEC-1963-47E43C22E7C3}"/>
          </ac:spMkLst>
        </pc:spChg>
        <pc:picChg chg="add mod">
          <ac:chgData name="Madhulika Chilla" userId="" providerId="" clId="Web-{7A669802-9B53-4C32-B398-3C0DF010205A}" dt="2023-03-02T03:05:22.225" v="145" actId="1076"/>
          <ac:picMkLst>
            <pc:docMk/>
            <pc:sldMk cId="3902462138" sldId="259"/>
            <ac:picMk id="3" creationId="{0BC4BD7F-26D4-4E92-900E-8E070143839D}"/>
          </ac:picMkLst>
        </pc:picChg>
        <pc:picChg chg="add del mod">
          <ac:chgData name="Madhulika Chilla" userId="" providerId="" clId="Web-{7A669802-9B53-4C32-B398-3C0DF010205A}" dt="2023-03-02T03:21:00.673" v="286"/>
          <ac:picMkLst>
            <pc:docMk/>
            <pc:sldMk cId="3902462138" sldId="259"/>
            <ac:picMk id="6" creationId="{7579CE71-3CF8-BB1C-DBB3-EF0FF7747100}"/>
          </ac:picMkLst>
        </pc:picChg>
      </pc:sldChg>
    </pc:docChg>
  </pc:docChgLst>
  <pc:docChgLst>
    <pc:chgData name="Shaanu Gupta" userId="z8hFsDZf7tZCIPQ+8spGuXOhlp4SHTXm1O0jmLH9g20=" providerId="None" clId="Web-{9085140A-CDA7-4C08-8F0B-424C6AFE96F9}"/>
    <pc:docChg chg="modSld">
      <pc:chgData name="Shaanu Gupta" userId="z8hFsDZf7tZCIPQ+8spGuXOhlp4SHTXm1O0jmLH9g20=" providerId="None" clId="Web-{9085140A-CDA7-4C08-8F0B-424C6AFE96F9}" dt="2023-03-02T02:50:28.164" v="4" actId="1076"/>
      <pc:docMkLst>
        <pc:docMk/>
      </pc:docMkLst>
      <pc:sldChg chg="addSp modSp">
        <pc:chgData name="Shaanu Gupta" userId="z8hFsDZf7tZCIPQ+8spGuXOhlp4SHTXm1O0jmLH9g20=" providerId="None" clId="Web-{9085140A-CDA7-4C08-8F0B-424C6AFE96F9}" dt="2023-03-02T02:50:28.164" v="4" actId="1076"/>
        <pc:sldMkLst>
          <pc:docMk/>
          <pc:sldMk cId="3360724782" sldId="258"/>
        </pc:sldMkLst>
        <pc:spChg chg="add mod ord">
          <ac:chgData name="Shaanu Gupta" userId="z8hFsDZf7tZCIPQ+8spGuXOhlp4SHTXm1O0jmLH9g20=" providerId="None" clId="Web-{9085140A-CDA7-4C08-8F0B-424C6AFE96F9}" dt="2023-03-02T02:50:22.102" v="3" actId="14100"/>
          <ac:spMkLst>
            <pc:docMk/>
            <pc:sldMk cId="3360724782" sldId="258"/>
            <ac:spMk id="31" creationId="{50E35435-9B0F-D5C2-54D3-2DB8A77797E4}"/>
          </ac:spMkLst>
        </pc:spChg>
        <pc:picChg chg="mod">
          <ac:chgData name="Shaanu Gupta" userId="z8hFsDZf7tZCIPQ+8spGuXOhlp4SHTXm1O0jmLH9g20=" providerId="None" clId="Web-{9085140A-CDA7-4C08-8F0B-424C6AFE96F9}" dt="2023-03-02T02:50:28.164" v="4" actId="1076"/>
          <ac:picMkLst>
            <pc:docMk/>
            <pc:sldMk cId="3360724782" sldId="258"/>
            <ac:picMk id="143" creationId="{84AC4A4F-3433-CB41-B78B-AA916C9ED227}"/>
          </ac:picMkLst>
        </pc:picChg>
      </pc:sldChg>
    </pc:docChg>
  </pc:docChgLst>
  <pc:docChgLst>
    <pc:chgData clId="Web-{227E4103-E2C0-4525-BD11-85EF70DFD25E}"/>
    <pc:docChg chg="modSld">
      <pc:chgData name="" userId="" providerId="" clId="Web-{227E4103-E2C0-4525-BD11-85EF70DFD25E}" dt="2023-03-03T03:20:29.023" v="0" actId="14100"/>
      <pc:docMkLst>
        <pc:docMk/>
      </pc:docMkLst>
      <pc:sldChg chg="modSp">
        <pc:chgData name="" userId="" providerId="" clId="Web-{227E4103-E2C0-4525-BD11-85EF70DFD25E}" dt="2023-03-03T03:20:29.023" v="0" actId="14100"/>
        <pc:sldMkLst>
          <pc:docMk/>
          <pc:sldMk cId="3360724782" sldId="258"/>
        </pc:sldMkLst>
        <pc:cxnChg chg="mod">
          <ac:chgData name="" userId="" providerId="" clId="Web-{227E4103-E2C0-4525-BD11-85EF70DFD25E}" dt="2023-03-03T03:20:29.023" v="0" actId="14100"/>
          <ac:cxnSpMkLst>
            <pc:docMk/>
            <pc:sldMk cId="3360724782" sldId="258"/>
            <ac:cxnSpMk id="175" creationId="{73CE499E-1CD1-1EE5-7710-82B6EC382875}"/>
          </ac:cxnSpMkLst>
        </pc:cxnChg>
      </pc:sldChg>
    </pc:docChg>
  </pc:docChgLst>
  <pc:docChgLst>
    <pc:chgData name="Madhulika Chilla" clId="Web-{B0E59318-388B-48D5-9A8D-EE174BE3D81A}"/>
    <pc:docChg chg="delSld modSld">
      <pc:chgData name="Madhulika Chilla" userId="" providerId="" clId="Web-{B0E59318-388B-48D5-9A8D-EE174BE3D81A}" dt="2023-03-02T04:31:04.906" v="1"/>
      <pc:docMkLst>
        <pc:docMk/>
      </pc:docMkLst>
      <pc:sldChg chg="modSp">
        <pc:chgData name="Madhulika Chilla" userId="" providerId="" clId="Web-{B0E59318-388B-48D5-9A8D-EE174BE3D81A}" dt="2023-03-02T04:31:01.047" v="0" actId="1076"/>
        <pc:sldMkLst>
          <pc:docMk/>
          <pc:sldMk cId="3360724782" sldId="258"/>
        </pc:sldMkLst>
        <pc:picChg chg="mod">
          <ac:chgData name="Madhulika Chilla" userId="" providerId="" clId="Web-{B0E59318-388B-48D5-9A8D-EE174BE3D81A}" dt="2023-03-02T04:31:01.047" v="0" actId="1076"/>
          <ac:picMkLst>
            <pc:docMk/>
            <pc:sldMk cId="3360724782" sldId="258"/>
            <ac:picMk id="141" creationId="{808B0578-22E5-6B76-1DB4-A3B7795A13A9}"/>
          </ac:picMkLst>
        </pc:picChg>
      </pc:sldChg>
      <pc:sldChg chg="del">
        <pc:chgData name="Madhulika Chilla" userId="" providerId="" clId="Web-{B0E59318-388B-48D5-9A8D-EE174BE3D81A}" dt="2023-03-02T04:31:04.906" v="1"/>
        <pc:sldMkLst>
          <pc:docMk/>
          <pc:sldMk cId="825142804" sldId="25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1-Mar-23</a:t>
            </a:fld>
            <a:endParaRPr lang="en-US" dirty="0"/>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dirty="0"/>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1-Mar-23</a:t>
            </a:fld>
            <a:endParaRPr lang="en-US" dirty="0"/>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dirty="0"/>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cs typeface="Calibri"/>
              </a:rPr>
              <a:t>Conclusions color should be changed</a:t>
            </a:r>
            <a:endParaRPr lang="en-US" dirty="0"/>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dirty="0"/>
          </a:p>
        </p:txBody>
      </p:sp>
    </p:spTree>
    <p:extLst>
      <p:ext uri="{BB962C8B-B14F-4D97-AF65-F5344CB8AC3E}">
        <p14:creationId xmlns:p14="http://schemas.microsoft.com/office/powerpoint/2010/main" val="2766058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dirty="0"/>
          </a:p>
        </p:txBody>
      </p:sp>
      <p:sp>
        <p:nvSpPr>
          <p:cNvPr id="5" name="Footer Placeholder 4"/>
          <p:cNvSpPr>
            <a:spLocks noGrp="1"/>
          </p:cNvSpPr>
          <p:nvPr>
            <p:ph type="ftr" sz="quarter" idx="11"/>
          </p:nvPr>
        </p:nvSpPr>
        <p:spPr/>
        <p:txBody>
          <a:bodyPr/>
          <a:lstStyle>
            <a:lvl1pPr>
              <a:defRPr/>
            </a:lvl1pPr>
          </a:lstStyle>
          <a:p>
            <a:endParaRPr lang="en-AU" altLang="en-US" dirty="0"/>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dirty="0"/>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dirty="0"/>
          </a:p>
        </p:txBody>
      </p:sp>
      <p:sp>
        <p:nvSpPr>
          <p:cNvPr id="5" name="Footer Placeholder 4"/>
          <p:cNvSpPr>
            <a:spLocks noGrp="1"/>
          </p:cNvSpPr>
          <p:nvPr>
            <p:ph type="ftr" sz="quarter" idx="11"/>
          </p:nvPr>
        </p:nvSpPr>
        <p:spPr/>
        <p:txBody>
          <a:bodyPr/>
          <a:lstStyle>
            <a:lvl1pPr>
              <a:defRPr/>
            </a:lvl1pPr>
          </a:lstStyle>
          <a:p>
            <a:endParaRPr lang="en-AU" altLang="en-US" dirty="0"/>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dirty="0"/>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dirty="0"/>
          </a:p>
        </p:txBody>
      </p:sp>
      <p:sp>
        <p:nvSpPr>
          <p:cNvPr id="5" name="Footer Placeholder 4"/>
          <p:cNvSpPr>
            <a:spLocks noGrp="1"/>
          </p:cNvSpPr>
          <p:nvPr>
            <p:ph type="ftr" sz="quarter" idx="11"/>
          </p:nvPr>
        </p:nvSpPr>
        <p:spPr/>
        <p:txBody>
          <a:bodyPr/>
          <a:lstStyle>
            <a:lvl1pPr>
              <a:defRPr/>
            </a:lvl1pPr>
          </a:lstStyle>
          <a:p>
            <a:endParaRPr lang="en-AU" altLang="en-US" dirty="0"/>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dirty="0"/>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dirty="0"/>
          </a:p>
        </p:txBody>
      </p:sp>
      <p:sp>
        <p:nvSpPr>
          <p:cNvPr id="5" name="Footer Placeholder 4"/>
          <p:cNvSpPr>
            <a:spLocks noGrp="1"/>
          </p:cNvSpPr>
          <p:nvPr>
            <p:ph type="ftr" sz="quarter" idx="11"/>
          </p:nvPr>
        </p:nvSpPr>
        <p:spPr/>
        <p:txBody>
          <a:bodyPr/>
          <a:lstStyle>
            <a:lvl1pPr>
              <a:defRPr/>
            </a:lvl1pPr>
          </a:lstStyle>
          <a:p>
            <a:endParaRPr lang="en-AU" altLang="en-US" dirty="0"/>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dirty="0"/>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dirty="0"/>
          </a:p>
        </p:txBody>
      </p:sp>
      <p:sp>
        <p:nvSpPr>
          <p:cNvPr id="5" name="Footer Placeholder 4"/>
          <p:cNvSpPr>
            <a:spLocks noGrp="1"/>
          </p:cNvSpPr>
          <p:nvPr>
            <p:ph type="ftr" sz="quarter" idx="11"/>
          </p:nvPr>
        </p:nvSpPr>
        <p:spPr/>
        <p:txBody>
          <a:bodyPr/>
          <a:lstStyle>
            <a:lvl1pPr>
              <a:defRPr/>
            </a:lvl1pPr>
          </a:lstStyle>
          <a:p>
            <a:endParaRPr lang="en-AU" altLang="en-US" dirty="0"/>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dirty="0"/>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dirty="0"/>
          </a:p>
        </p:txBody>
      </p:sp>
      <p:sp>
        <p:nvSpPr>
          <p:cNvPr id="6" name="Footer Placeholder 5"/>
          <p:cNvSpPr>
            <a:spLocks noGrp="1"/>
          </p:cNvSpPr>
          <p:nvPr>
            <p:ph type="ftr" sz="quarter" idx="11"/>
          </p:nvPr>
        </p:nvSpPr>
        <p:spPr/>
        <p:txBody>
          <a:bodyPr/>
          <a:lstStyle>
            <a:lvl1pPr>
              <a:defRPr/>
            </a:lvl1pPr>
          </a:lstStyle>
          <a:p>
            <a:endParaRPr lang="en-AU" altLang="en-US" dirty="0"/>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dirty="0"/>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dirty="0"/>
          </a:p>
        </p:txBody>
      </p:sp>
      <p:sp>
        <p:nvSpPr>
          <p:cNvPr id="8" name="Footer Placeholder 7"/>
          <p:cNvSpPr>
            <a:spLocks noGrp="1"/>
          </p:cNvSpPr>
          <p:nvPr>
            <p:ph type="ftr" sz="quarter" idx="11"/>
          </p:nvPr>
        </p:nvSpPr>
        <p:spPr/>
        <p:txBody>
          <a:bodyPr/>
          <a:lstStyle>
            <a:lvl1pPr>
              <a:defRPr/>
            </a:lvl1pPr>
          </a:lstStyle>
          <a:p>
            <a:endParaRPr lang="en-AU" altLang="en-US" dirty="0"/>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dirty="0"/>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dirty="0"/>
          </a:p>
        </p:txBody>
      </p:sp>
      <p:sp>
        <p:nvSpPr>
          <p:cNvPr id="4" name="Footer Placeholder 3"/>
          <p:cNvSpPr>
            <a:spLocks noGrp="1"/>
          </p:cNvSpPr>
          <p:nvPr>
            <p:ph type="ftr" sz="quarter" idx="11"/>
          </p:nvPr>
        </p:nvSpPr>
        <p:spPr/>
        <p:txBody>
          <a:bodyPr/>
          <a:lstStyle>
            <a:lvl1pPr>
              <a:defRPr/>
            </a:lvl1pPr>
          </a:lstStyle>
          <a:p>
            <a:endParaRPr lang="en-AU" altLang="en-US" dirty="0"/>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dirty="0"/>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dirty="0"/>
          </a:p>
        </p:txBody>
      </p:sp>
      <p:sp>
        <p:nvSpPr>
          <p:cNvPr id="3" name="Footer Placeholder 2"/>
          <p:cNvSpPr>
            <a:spLocks noGrp="1"/>
          </p:cNvSpPr>
          <p:nvPr>
            <p:ph type="ftr" sz="quarter" idx="11"/>
          </p:nvPr>
        </p:nvSpPr>
        <p:spPr/>
        <p:txBody>
          <a:bodyPr/>
          <a:lstStyle>
            <a:lvl1pPr>
              <a:defRPr/>
            </a:lvl1pPr>
          </a:lstStyle>
          <a:p>
            <a:endParaRPr lang="en-AU" altLang="en-US" dirty="0"/>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dirty="0"/>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dirty="0"/>
          </a:p>
        </p:txBody>
      </p:sp>
      <p:sp>
        <p:nvSpPr>
          <p:cNvPr id="6" name="Footer Placeholder 5"/>
          <p:cNvSpPr>
            <a:spLocks noGrp="1"/>
          </p:cNvSpPr>
          <p:nvPr>
            <p:ph type="ftr" sz="quarter" idx="11"/>
          </p:nvPr>
        </p:nvSpPr>
        <p:spPr/>
        <p:txBody>
          <a:bodyPr/>
          <a:lstStyle>
            <a:lvl1pPr>
              <a:defRPr/>
            </a:lvl1pPr>
          </a:lstStyle>
          <a:p>
            <a:endParaRPr lang="en-AU" altLang="en-US" dirty="0"/>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dirty="0"/>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dirty="0"/>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dirty="0"/>
          </a:p>
        </p:txBody>
      </p:sp>
      <p:sp>
        <p:nvSpPr>
          <p:cNvPr id="6" name="Footer Placeholder 5"/>
          <p:cNvSpPr>
            <a:spLocks noGrp="1"/>
          </p:cNvSpPr>
          <p:nvPr>
            <p:ph type="ftr" sz="quarter" idx="11"/>
          </p:nvPr>
        </p:nvSpPr>
        <p:spPr/>
        <p:txBody>
          <a:bodyPr/>
          <a:lstStyle>
            <a:lvl1pPr>
              <a:defRPr/>
            </a:lvl1pPr>
          </a:lstStyle>
          <a:p>
            <a:endParaRPr lang="en-AU" altLang="en-US" dirty="0"/>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dirty="0"/>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dirty="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dirty="0"/>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dirty="0"/>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dirty="0"/>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dirty="0"/>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6" Type="http://schemas.openxmlformats.org/officeDocument/2006/relationships/image" Target="../media/image20.svg"/><Relationship Id="rId21" Type="http://schemas.openxmlformats.org/officeDocument/2006/relationships/image" Target="../media/image15.jpeg"/><Relationship Id="rId42" Type="http://schemas.openxmlformats.org/officeDocument/2006/relationships/image" Target="../media/image36.svg"/><Relationship Id="rId47" Type="http://schemas.openxmlformats.org/officeDocument/2006/relationships/image" Target="../media/image41.png"/><Relationship Id="rId63" Type="http://schemas.openxmlformats.org/officeDocument/2006/relationships/image" Target="../media/image57.png"/><Relationship Id="rId68" Type="http://schemas.openxmlformats.org/officeDocument/2006/relationships/image" Target="../media/image62.svg"/><Relationship Id="rId7" Type="http://schemas.openxmlformats.org/officeDocument/2006/relationships/image" Target="../media/image6.jpeg"/><Relationship Id="rId71" Type="http://schemas.openxmlformats.org/officeDocument/2006/relationships/image" Target="../media/image65.jpg"/><Relationship Id="rId2" Type="http://schemas.openxmlformats.org/officeDocument/2006/relationships/notesSlide" Target="../notesSlides/notesSlide1.xml"/><Relationship Id="rId16" Type="http://schemas.openxmlformats.org/officeDocument/2006/relationships/image" Target="../media/image14.svg"/><Relationship Id="rId29" Type="http://schemas.openxmlformats.org/officeDocument/2006/relationships/image" Target="../media/image23.png"/><Relationship Id="rId11" Type="http://schemas.openxmlformats.org/officeDocument/2006/relationships/hyperlink" Target="https://www.linkedin.com/in/madhulikachilla/" TargetMode="External"/><Relationship Id="rId24" Type="http://schemas.openxmlformats.org/officeDocument/2006/relationships/image" Target="../media/image18.svg"/><Relationship Id="rId32" Type="http://schemas.openxmlformats.org/officeDocument/2006/relationships/image" Target="../media/image26.svg"/><Relationship Id="rId37" Type="http://schemas.openxmlformats.org/officeDocument/2006/relationships/image" Target="../media/image31.png"/><Relationship Id="rId40" Type="http://schemas.openxmlformats.org/officeDocument/2006/relationships/image" Target="../media/image34.svg"/><Relationship Id="rId45" Type="http://schemas.openxmlformats.org/officeDocument/2006/relationships/image" Target="../media/image39.png"/><Relationship Id="rId53" Type="http://schemas.openxmlformats.org/officeDocument/2006/relationships/image" Target="../media/image47.png"/><Relationship Id="rId58" Type="http://schemas.openxmlformats.org/officeDocument/2006/relationships/image" Target="../media/image52.svg"/><Relationship Id="rId66" Type="http://schemas.openxmlformats.org/officeDocument/2006/relationships/image" Target="../media/image60.svg"/><Relationship Id="rId5" Type="http://schemas.openxmlformats.org/officeDocument/2006/relationships/image" Target="../media/image4.png"/><Relationship Id="rId61" Type="http://schemas.openxmlformats.org/officeDocument/2006/relationships/image" Target="../media/image55.png"/><Relationship Id="rId19" Type="http://schemas.openxmlformats.org/officeDocument/2006/relationships/hyperlink" Target="https://www.linkedin.com/in/mateo-posada/" TargetMode="External"/><Relationship Id="rId14" Type="http://schemas.openxmlformats.org/officeDocument/2006/relationships/image" Target="../media/image12.svg"/><Relationship Id="rId22" Type="http://schemas.openxmlformats.org/officeDocument/2006/relationships/image" Target="../media/image16.jpeg"/><Relationship Id="rId27" Type="http://schemas.openxmlformats.org/officeDocument/2006/relationships/image" Target="../media/image21.png"/><Relationship Id="rId30" Type="http://schemas.openxmlformats.org/officeDocument/2006/relationships/image" Target="../media/image24.svg"/><Relationship Id="rId35" Type="http://schemas.openxmlformats.org/officeDocument/2006/relationships/image" Target="../media/image29.png"/><Relationship Id="rId43" Type="http://schemas.openxmlformats.org/officeDocument/2006/relationships/image" Target="../media/image37.png"/><Relationship Id="rId48" Type="http://schemas.openxmlformats.org/officeDocument/2006/relationships/image" Target="../media/image42.svg"/><Relationship Id="rId56" Type="http://schemas.openxmlformats.org/officeDocument/2006/relationships/image" Target="../media/image50.svg"/><Relationship Id="rId64" Type="http://schemas.openxmlformats.org/officeDocument/2006/relationships/image" Target="../media/image58.svg"/><Relationship Id="rId69" Type="http://schemas.openxmlformats.org/officeDocument/2006/relationships/image" Target="../media/image63.png"/><Relationship Id="rId8" Type="http://schemas.openxmlformats.org/officeDocument/2006/relationships/image" Target="../media/image7.jpeg"/><Relationship Id="rId51" Type="http://schemas.openxmlformats.org/officeDocument/2006/relationships/image" Target="../media/image45.png"/><Relationship Id="rId3" Type="http://schemas.openxmlformats.org/officeDocument/2006/relationships/image" Target="../media/image2.png"/><Relationship Id="rId12" Type="http://schemas.openxmlformats.org/officeDocument/2006/relationships/image" Target="../media/image10.png"/><Relationship Id="rId17" Type="http://schemas.openxmlformats.org/officeDocument/2006/relationships/hyperlink" Target="https://www.linkedin.com/in/shaanugupta/" TargetMode="External"/><Relationship Id="rId25" Type="http://schemas.openxmlformats.org/officeDocument/2006/relationships/image" Target="../media/image19.png"/><Relationship Id="rId33" Type="http://schemas.openxmlformats.org/officeDocument/2006/relationships/image" Target="../media/image27.png"/><Relationship Id="rId38" Type="http://schemas.openxmlformats.org/officeDocument/2006/relationships/image" Target="../media/image32.svg"/><Relationship Id="rId46" Type="http://schemas.openxmlformats.org/officeDocument/2006/relationships/image" Target="../media/image40.svg"/><Relationship Id="rId59" Type="http://schemas.openxmlformats.org/officeDocument/2006/relationships/image" Target="../media/image53.jpg"/><Relationship Id="rId67" Type="http://schemas.openxmlformats.org/officeDocument/2006/relationships/image" Target="../media/image61.png"/><Relationship Id="rId20" Type="http://schemas.openxmlformats.org/officeDocument/2006/relationships/hyperlink" Target="https://www.linkedin.com/in/ziyue-tang-575351185/" TargetMode="External"/><Relationship Id="rId41" Type="http://schemas.openxmlformats.org/officeDocument/2006/relationships/image" Target="../media/image35.png"/><Relationship Id="rId54" Type="http://schemas.openxmlformats.org/officeDocument/2006/relationships/image" Target="../media/image48.svg"/><Relationship Id="rId62" Type="http://schemas.openxmlformats.org/officeDocument/2006/relationships/image" Target="../media/image56.svg"/><Relationship Id="rId70" Type="http://schemas.openxmlformats.org/officeDocument/2006/relationships/image" Target="../media/image64.svg"/><Relationship Id="rId1" Type="http://schemas.openxmlformats.org/officeDocument/2006/relationships/slideLayout" Target="../slideLayouts/slideLayout7.xml"/><Relationship Id="rId6" Type="http://schemas.openxmlformats.org/officeDocument/2006/relationships/image" Target="../media/image5.jpeg"/><Relationship Id="rId15" Type="http://schemas.openxmlformats.org/officeDocument/2006/relationships/image" Target="../media/image13.png"/><Relationship Id="rId23" Type="http://schemas.openxmlformats.org/officeDocument/2006/relationships/image" Target="../media/image17.png"/><Relationship Id="rId28" Type="http://schemas.openxmlformats.org/officeDocument/2006/relationships/image" Target="../media/image22.svg"/><Relationship Id="rId36" Type="http://schemas.openxmlformats.org/officeDocument/2006/relationships/image" Target="../media/image30.svg"/><Relationship Id="rId49" Type="http://schemas.openxmlformats.org/officeDocument/2006/relationships/image" Target="../media/image43.png"/><Relationship Id="rId57" Type="http://schemas.openxmlformats.org/officeDocument/2006/relationships/image" Target="../media/image51.png"/><Relationship Id="rId10" Type="http://schemas.openxmlformats.org/officeDocument/2006/relationships/image" Target="../media/image9.jpeg"/><Relationship Id="rId31" Type="http://schemas.openxmlformats.org/officeDocument/2006/relationships/image" Target="../media/image25.png"/><Relationship Id="rId44" Type="http://schemas.openxmlformats.org/officeDocument/2006/relationships/image" Target="../media/image38.svg"/><Relationship Id="rId52" Type="http://schemas.openxmlformats.org/officeDocument/2006/relationships/image" Target="../media/image46.svg"/><Relationship Id="rId60" Type="http://schemas.openxmlformats.org/officeDocument/2006/relationships/image" Target="../media/image54.jpg"/><Relationship Id="rId65" Type="http://schemas.openxmlformats.org/officeDocument/2006/relationships/image" Target="../media/image59.png"/><Relationship Id="rId4" Type="http://schemas.openxmlformats.org/officeDocument/2006/relationships/image" Target="../media/image3.jpg"/><Relationship Id="rId9" Type="http://schemas.openxmlformats.org/officeDocument/2006/relationships/image" Target="../media/image8.jpeg"/><Relationship Id="rId13" Type="http://schemas.openxmlformats.org/officeDocument/2006/relationships/image" Target="../media/image11.png"/><Relationship Id="rId18" Type="http://schemas.openxmlformats.org/officeDocument/2006/relationships/hyperlink" Target="https://www.linkedin.com/in/ricardonunezmagana/" TargetMode="External"/><Relationship Id="rId39" Type="http://schemas.openxmlformats.org/officeDocument/2006/relationships/image" Target="../media/image33.png"/><Relationship Id="rId34" Type="http://schemas.openxmlformats.org/officeDocument/2006/relationships/image" Target="../media/image28.svg"/><Relationship Id="rId50" Type="http://schemas.openxmlformats.org/officeDocument/2006/relationships/image" Target="../media/image44.svg"/><Relationship Id="rId55"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E35435-9B0F-D5C2-54D3-2DB8A77797E4}"/>
              </a:ext>
            </a:extLst>
          </p:cNvPr>
          <p:cNvSpPr>
            <a:spLocks/>
          </p:cNvSpPr>
          <p:nvPr/>
        </p:nvSpPr>
        <p:spPr bwMode="auto">
          <a:xfrm>
            <a:off x="34007589" y="3187555"/>
            <a:ext cx="10001318" cy="187536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pic>
        <p:nvPicPr>
          <p:cNvPr id="4" name="Picture 3" descr="Chart, pie chart&#10;&#10;Description automatically generated">
            <a:extLst>
              <a:ext uri="{FF2B5EF4-FFF2-40B4-BE49-F238E27FC236}">
                <a16:creationId xmlns:a16="http://schemas.microsoft.com/office/drawing/2014/main" id="{366020FB-C4E4-53A5-F67C-54A9F47B2638}"/>
              </a:ext>
            </a:extLst>
          </p:cNvPr>
          <p:cNvPicPr>
            <a:picLocks noChangeAspect="1"/>
          </p:cNvPicPr>
          <p:nvPr/>
        </p:nvPicPr>
        <p:blipFill rotWithShape="1">
          <a:blip r:embed="rId3">
            <a:extLst>
              <a:ext uri="{28A0092B-C50C-407E-A947-70E740481C1C}">
                <a14:useLocalDpi xmlns:a14="http://schemas.microsoft.com/office/drawing/2010/main" val="0"/>
              </a:ext>
            </a:extLst>
          </a:blip>
          <a:srcRect l="5642" t="24096" r="6042" b="15594"/>
          <a:stretch/>
        </p:blipFill>
        <p:spPr>
          <a:xfrm>
            <a:off x="34365972" y="8115078"/>
            <a:ext cx="9574116" cy="4395861"/>
          </a:xfrm>
          <a:prstGeom prst="rect">
            <a:avLst/>
          </a:prstGeom>
        </p:spPr>
      </p:pic>
      <p:pic>
        <p:nvPicPr>
          <p:cNvPr id="57" name="Picture 56" descr="A picture containing text, toiletry&#10;&#10;Description automatically generated">
            <a:extLst>
              <a:ext uri="{FF2B5EF4-FFF2-40B4-BE49-F238E27FC236}">
                <a16:creationId xmlns:a16="http://schemas.microsoft.com/office/drawing/2014/main" id="{7512882D-1E2F-D39D-299F-A46DE5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5220" y="6751909"/>
            <a:ext cx="11987860" cy="5173433"/>
          </a:xfrm>
          <a:prstGeom prst="rect">
            <a:avLst/>
          </a:prstGeom>
        </p:spPr>
      </p:pic>
      <p:sp>
        <p:nvSpPr>
          <p:cNvPr id="7" name="Rectangle 6">
            <a:extLst>
              <a:ext uri="{FF2B5EF4-FFF2-40B4-BE49-F238E27FC236}">
                <a16:creationId xmlns:a16="http://schemas.microsoft.com/office/drawing/2014/main" id="{079FF3CA-458A-4D4D-B9C8-94E3801BC8D9}"/>
              </a:ext>
            </a:extLst>
          </p:cNvPr>
          <p:cNvSpPr>
            <a:spLocks/>
          </p:cNvSpPr>
          <p:nvPr/>
        </p:nvSpPr>
        <p:spPr bwMode="auto">
          <a:xfrm>
            <a:off x="-119380" y="3233509"/>
            <a:ext cx="9286875" cy="187536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2" name="Text Box 126">
            <a:extLst>
              <a:ext uri="{FF2B5EF4-FFF2-40B4-BE49-F238E27FC236}">
                <a16:creationId xmlns:a16="http://schemas.microsoft.com/office/drawing/2014/main" id="{483B37E3-74D4-9F4E-81FB-4FA09415C539}"/>
              </a:ext>
            </a:extLst>
          </p:cNvPr>
          <p:cNvSpPr txBox="1">
            <a:spLocks noChangeArrowheads="1"/>
          </p:cNvSpPr>
          <p:nvPr/>
        </p:nvSpPr>
        <p:spPr bwMode="auto">
          <a:xfrm>
            <a:off x="3509452" y="171296"/>
            <a:ext cx="3691704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spcBef>
                <a:spcPct val="50000"/>
              </a:spcBef>
            </a:pPr>
            <a:r>
              <a:rPr lang="en-US" altLang="en-US" sz="6000" b="1" dirty="0">
                <a:latin typeface="Arial"/>
                <a:cs typeface="Arial"/>
              </a:rPr>
              <a:t>An NLP-Based Sustainability-Driven Approach to Modeling n-tier Supply Chain Resilience and Risks </a:t>
            </a:r>
            <a:endParaRPr lang="en-US" altLang="en-US" sz="6000" b="1"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51CD0828-D839-D547-81E9-14F36F4411E3}"/>
              </a:ext>
            </a:extLst>
          </p:cNvPr>
          <p:cNvSpPr/>
          <p:nvPr/>
        </p:nvSpPr>
        <p:spPr bwMode="auto">
          <a:xfrm>
            <a:off x="-36527" y="3429437"/>
            <a:ext cx="7167979"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sp>
        <p:nvSpPr>
          <p:cNvPr id="16" name="Rectangle 15">
            <a:extLst>
              <a:ext uri="{FF2B5EF4-FFF2-40B4-BE49-F238E27FC236}">
                <a16:creationId xmlns:a16="http://schemas.microsoft.com/office/drawing/2014/main" id="{82BDF84D-4096-854B-8F4A-A0214D647341}"/>
              </a:ext>
            </a:extLst>
          </p:cNvPr>
          <p:cNvSpPr/>
          <p:nvPr/>
        </p:nvSpPr>
        <p:spPr>
          <a:xfrm>
            <a:off x="-2521" y="3453119"/>
            <a:ext cx="7099965"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BUSINESS PROBLEM</a:t>
            </a:r>
          </a:p>
        </p:txBody>
      </p:sp>
      <p:pic>
        <p:nvPicPr>
          <p:cNvPr id="143" name="Picture 142">
            <a:extLst>
              <a:ext uri="{FF2B5EF4-FFF2-40B4-BE49-F238E27FC236}">
                <a16:creationId xmlns:a16="http://schemas.microsoft.com/office/drawing/2014/main" id="{84AC4A4F-3433-CB41-B78B-AA916C9ED227}"/>
              </a:ext>
            </a:extLst>
          </p:cNvPr>
          <p:cNvPicPr>
            <a:picLocks noChangeAspect="1"/>
          </p:cNvPicPr>
          <p:nvPr/>
        </p:nvPicPr>
        <p:blipFill>
          <a:blip r:embed="rId5"/>
          <a:stretch>
            <a:fillRect/>
          </a:stretch>
        </p:blipFill>
        <p:spPr>
          <a:xfrm>
            <a:off x="41777452" y="20189415"/>
            <a:ext cx="1762311" cy="1697520"/>
          </a:xfrm>
          <a:prstGeom prst="rect">
            <a:avLst/>
          </a:prstGeom>
        </p:spPr>
      </p:pic>
      <p:sp>
        <p:nvSpPr>
          <p:cNvPr id="180" name="TextBox 179">
            <a:extLst>
              <a:ext uri="{FF2B5EF4-FFF2-40B4-BE49-F238E27FC236}">
                <a16:creationId xmlns:a16="http://schemas.microsoft.com/office/drawing/2014/main" id="{55E67928-1CD5-5B46-A024-8DB7783D249E}"/>
              </a:ext>
            </a:extLst>
          </p:cNvPr>
          <p:cNvSpPr txBox="1"/>
          <p:nvPr/>
        </p:nvSpPr>
        <p:spPr>
          <a:xfrm>
            <a:off x="34472262" y="18428702"/>
            <a:ext cx="9205766" cy="1200329"/>
          </a:xfrm>
          <a:prstGeom prst="rect">
            <a:avLst/>
          </a:prstGeom>
          <a:noFill/>
        </p:spPr>
        <p:txBody>
          <a:bodyPr wrap="square">
            <a:spAutoFit/>
          </a:bodyPr>
          <a:lstStyle/>
          <a:p>
            <a:pPr algn="just"/>
            <a:r>
              <a:rPr lang="en-US" sz="2400" spc="10" dirty="0">
                <a:latin typeface="Arial"/>
                <a:cs typeface="Arial"/>
              </a:rPr>
              <a:t>We extend our sincere gratitude to our industry partner for their guidance and support on this project, as well as Prof. Yang Wang from Purdue's MS BAIM program for her invaluable guidance.</a:t>
            </a:r>
            <a:endParaRPr lang="en-IN" sz="2400" spc="10" dirty="0">
              <a:latin typeface="Arial"/>
              <a:cs typeface="Arial"/>
            </a:endParaRPr>
          </a:p>
        </p:txBody>
      </p:sp>
      <p:sp>
        <p:nvSpPr>
          <p:cNvPr id="188" name="Rectangle 187">
            <a:extLst>
              <a:ext uri="{FF2B5EF4-FFF2-40B4-BE49-F238E27FC236}">
                <a16:creationId xmlns:a16="http://schemas.microsoft.com/office/drawing/2014/main" id="{B94C18C3-6F3E-9943-AC69-A8E4CD9DF906}"/>
              </a:ext>
            </a:extLst>
          </p:cNvPr>
          <p:cNvSpPr/>
          <p:nvPr/>
        </p:nvSpPr>
        <p:spPr bwMode="auto">
          <a:xfrm>
            <a:off x="21611504" y="3396056"/>
            <a:ext cx="6893975"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sp>
        <p:nvSpPr>
          <p:cNvPr id="189" name="Rectangle 188">
            <a:extLst>
              <a:ext uri="{FF2B5EF4-FFF2-40B4-BE49-F238E27FC236}">
                <a16:creationId xmlns:a16="http://schemas.microsoft.com/office/drawing/2014/main" id="{803F9F70-0ACA-9946-B4B7-3338CD523149}"/>
              </a:ext>
            </a:extLst>
          </p:cNvPr>
          <p:cNvSpPr/>
          <p:nvPr/>
        </p:nvSpPr>
        <p:spPr>
          <a:xfrm>
            <a:off x="21149479" y="3429437"/>
            <a:ext cx="6859931"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METHODOLOGY</a:t>
            </a:r>
          </a:p>
        </p:txBody>
      </p:sp>
      <p:sp>
        <p:nvSpPr>
          <p:cNvPr id="193" name="Rectangle 192">
            <a:extLst>
              <a:ext uri="{FF2B5EF4-FFF2-40B4-BE49-F238E27FC236}">
                <a16:creationId xmlns:a16="http://schemas.microsoft.com/office/drawing/2014/main" id="{76FEB872-372C-4148-AEFD-8FC60E42DEA4}"/>
              </a:ext>
            </a:extLst>
          </p:cNvPr>
          <p:cNvSpPr/>
          <p:nvPr/>
        </p:nvSpPr>
        <p:spPr bwMode="auto">
          <a:xfrm>
            <a:off x="21535722" y="11477675"/>
            <a:ext cx="5558919" cy="585318"/>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sp>
        <p:nvSpPr>
          <p:cNvPr id="194" name="Rectangle 193">
            <a:extLst>
              <a:ext uri="{FF2B5EF4-FFF2-40B4-BE49-F238E27FC236}">
                <a16:creationId xmlns:a16="http://schemas.microsoft.com/office/drawing/2014/main" id="{E663D7BB-BDAB-8940-808A-7E7C8E4039DC}"/>
              </a:ext>
            </a:extLst>
          </p:cNvPr>
          <p:cNvSpPr/>
          <p:nvPr/>
        </p:nvSpPr>
        <p:spPr>
          <a:xfrm>
            <a:off x="21502774" y="11486084"/>
            <a:ext cx="5542188"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MODEL BUILDING</a:t>
            </a:r>
          </a:p>
        </p:txBody>
      </p:sp>
      <p:sp>
        <p:nvSpPr>
          <p:cNvPr id="8" name="Rectangle 7">
            <a:extLst>
              <a:ext uri="{FF2B5EF4-FFF2-40B4-BE49-F238E27FC236}">
                <a16:creationId xmlns:a16="http://schemas.microsoft.com/office/drawing/2014/main" id="{9B17D3D3-06A4-BD02-458C-4D1B2906312A}"/>
              </a:ext>
            </a:extLst>
          </p:cNvPr>
          <p:cNvSpPr/>
          <p:nvPr/>
        </p:nvSpPr>
        <p:spPr bwMode="auto">
          <a:xfrm>
            <a:off x="9284354" y="3459117"/>
            <a:ext cx="9270729" cy="482656"/>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RESEARCH QUESTIONS</a:t>
            </a:r>
            <a:endParaRPr lang="en-US" sz="1800" dirty="0"/>
          </a:p>
        </p:txBody>
      </p:sp>
      <p:sp>
        <p:nvSpPr>
          <p:cNvPr id="23" name="TextBox 22">
            <a:extLst>
              <a:ext uri="{FF2B5EF4-FFF2-40B4-BE49-F238E27FC236}">
                <a16:creationId xmlns:a16="http://schemas.microsoft.com/office/drawing/2014/main" id="{B100C5FC-6F8C-3177-D632-36246E40991D}"/>
              </a:ext>
            </a:extLst>
          </p:cNvPr>
          <p:cNvSpPr txBox="1"/>
          <p:nvPr/>
        </p:nvSpPr>
        <p:spPr>
          <a:xfrm>
            <a:off x="9327085" y="12033564"/>
            <a:ext cx="11780576" cy="1161728"/>
          </a:xfrm>
          <a:prstGeom prst="rect">
            <a:avLst/>
          </a:prstGeom>
          <a:noFill/>
        </p:spPr>
        <p:txBody>
          <a:bodyPr wrap="square" lIns="91440" tIns="45720" rIns="91440" bIns="45720" anchor="t">
            <a:spAutoFit/>
          </a:bodyPr>
          <a:lstStyle/>
          <a:p>
            <a:pPr algn="just" defTabSz="887413"/>
            <a:endParaRPr lang="en-US" sz="2000" b="1" spc="10" dirty="0">
              <a:latin typeface="Arial" panose="020B0604020202020204" pitchFamily="34" charset="0"/>
              <a:cs typeface="Arial" panose="020B0604020202020204" pitchFamily="34" charset="0"/>
            </a:endParaRPr>
          </a:p>
          <a:p>
            <a:pPr algn="just">
              <a:lnSpc>
                <a:spcPct val="107000"/>
              </a:lnSpc>
              <a:spcBef>
                <a:spcPts val="0"/>
              </a:spcBef>
              <a:spcAft>
                <a:spcPts val="800"/>
              </a:spcAft>
            </a:pPr>
            <a:r>
              <a:rPr lang="en-US" sz="2400" dirty="0">
                <a:latin typeface="Arial"/>
                <a:cs typeface="Arial"/>
              </a:rPr>
              <a:t>Partnered with a leading consulting firm specialized in supply chain and operations solutions to study ESG risks and supply chain resilience.</a:t>
            </a:r>
          </a:p>
        </p:txBody>
      </p:sp>
      <p:pic>
        <p:nvPicPr>
          <p:cNvPr id="26639" name="Picture 15">
            <a:extLst>
              <a:ext uri="{FF2B5EF4-FFF2-40B4-BE49-F238E27FC236}">
                <a16:creationId xmlns:a16="http://schemas.microsoft.com/office/drawing/2014/main" id="{89F8A0D1-0C58-5FEF-1138-5E0C590E94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35928137" y="19650301"/>
            <a:ext cx="1331040" cy="1663801"/>
          </a:xfrm>
          <a:prstGeom prst="ellipse">
            <a:avLst/>
          </a:prstGeom>
          <a:noFill/>
          <a:extLst>
            <a:ext uri="{909E8E84-426E-40DD-AFC4-6F175D3DCCD1}">
              <a14:hiddenFill xmlns:a14="http://schemas.microsoft.com/office/drawing/2010/main">
                <a:solidFill>
                  <a:srgbClr val="FFFFFF"/>
                </a:solidFill>
              </a14:hiddenFill>
            </a:ext>
          </a:extLst>
        </p:spPr>
      </p:pic>
      <p:pic>
        <p:nvPicPr>
          <p:cNvPr id="26641" name="Picture 17">
            <a:extLst>
              <a:ext uri="{FF2B5EF4-FFF2-40B4-BE49-F238E27FC236}">
                <a16:creationId xmlns:a16="http://schemas.microsoft.com/office/drawing/2014/main" id="{F75D1F59-10B5-94A8-A7CE-DFA3182858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37451979" y="19664771"/>
            <a:ext cx="1250038" cy="1674052"/>
          </a:xfrm>
          <a:prstGeom prst="ellipse">
            <a:avLst/>
          </a:prstGeom>
          <a:noFill/>
          <a:extLst>
            <a:ext uri="{909E8E84-426E-40DD-AFC4-6F175D3DCCD1}">
              <a14:hiddenFill xmlns:a14="http://schemas.microsoft.com/office/drawing/2010/main">
                <a:solidFill>
                  <a:srgbClr val="FFFFFF"/>
                </a:solidFill>
              </a14:hiddenFill>
            </a:ext>
          </a:extLst>
        </p:spPr>
      </p:pic>
      <p:pic>
        <p:nvPicPr>
          <p:cNvPr id="26643" name="Picture 19">
            <a:extLst>
              <a:ext uri="{FF2B5EF4-FFF2-40B4-BE49-F238E27FC236}">
                <a16:creationId xmlns:a16="http://schemas.microsoft.com/office/drawing/2014/main" id="{C1D56B06-AA7C-C687-5FD9-76E7E020330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38830336" y="19630278"/>
            <a:ext cx="1394430" cy="1743038"/>
          </a:xfrm>
          <a:prstGeom prst="ellipse">
            <a:avLst/>
          </a:prstGeom>
          <a:noFill/>
          <a:extLst>
            <a:ext uri="{909E8E84-426E-40DD-AFC4-6F175D3DCCD1}">
              <a14:hiddenFill xmlns:a14="http://schemas.microsoft.com/office/drawing/2010/main">
                <a:solidFill>
                  <a:srgbClr val="FFFFFF"/>
                </a:solidFill>
              </a14:hiddenFill>
            </a:ext>
          </a:extLst>
        </p:spPr>
      </p:pic>
      <p:pic>
        <p:nvPicPr>
          <p:cNvPr id="26645" name="Picture 21">
            <a:extLst>
              <a:ext uri="{FF2B5EF4-FFF2-40B4-BE49-F238E27FC236}">
                <a16:creationId xmlns:a16="http://schemas.microsoft.com/office/drawing/2014/main" id="{7551560E-01DB-145B-486A-DD7FF23672A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40418686" y="19710107"/>
            <a:ext cx="1141771" cy="1621101"/>
          </a:xfrm>
          <a:prstGeom prst="ellipse">
            <a:avLst/>
          </a:prstGeom>
          <a:noFill/>
          <a:extLst>
            <a:ext uri="{909E8E84-426E-40DD-AFC4-6F175D3DCCD1}">
              <a14:hiddenFill xmlns:a14="http://schemas.microsoft.com/office/drawing/2010/main">
                <a:solidFill>
                  <a:srgbClr val="FFFFFF"/>
                </a:solidFill>
              </a14:hiddenFill>
            </a:ext>
          </a:extLst>
        </p:spPr>
      </p:pic>
      <p:pic>
        <p:nvPicPr>
          <p:cNvPr id="10" name="Picture 15">
            <a:extLst>
              <a:ext uri="{FF2B5EF4-FFF2-40B4-BE49-F238E27FC236}">
                <a16:creationId xmlns:a16="http://schemas.microsoft.com/office/drawing/2014/main" id="{B4EE34D2-7CDB-4362-3EF8-6D0486B932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34405504" y="19568509"/>
            <a:ext cx="1409283" cy="1738117"/>
          </a:xfrm>
          <a:prstGeom prst="ellipse">
            <a:avLst/>
          </a:prstGeom>
          <a:noFill/>
          <a:extLst>
            <a:ext uri="{909E8E84-426E-40DD-AFC4-6F175D3DCCD1}">
              <a14:hiddenFill xmlns:a14="http://schemas.microsoft.com/office/drawing/2010/main">
                <a:solidFill>
                  <a:srgbClr val="FFFFFF"/>
                </a:solidFill>
              </a14:hiddenFill>
            </a:ext>
          </a:extLst>
        </p:spPr>
      </p:pic>
      <p:pic>
        <p:nvPicPr>
          <p:cNvPr id="26647" name="Picture 23" descr="Linkedin - Free social media icons">
            <a:hlinkClick r:id="rId11"/>
            <a:extLst>
              <a:ext uri="{FF2B5EF4-FFF2-40B4-BE49-F238E27FC236}">
                <a16:creationId xmlns:a16="http://schemas.microsoft.com/office/drawing/2014/main" id="{72C521B9-7D3F-3B7D-C36A-25BB2E1B9DA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243612" y="20789961"/>
            <a:ext cx="511038" cy="511038"/>
          </a:xfrm>
          <a:prstGeom prst="rect">
            <a:avLst/>
          </a:prstGeom>
          <a:solidFill>
            <a:schemeClr val="bg1"/>
          </a:solidFill>
        </p:spPr>
      </p:pic>
      <p:sp>
        <p:nvSpPr>
          <p:cNvPr id="12" name="Rectangle 11">
            <a:extLst>
              <a:ext uri="{FF2B5EF4-FFF2-40B4-BE49-F238E27FC236}">
                <a16:creationId xmlns:a16="http://schemas.microsoft.com/office/drawing/2014/main" id="{6228659D-FE3C-1DAE-3357-F30C12E6B637}"/>
              </a:ext>
            </a:extLst>
          </p:cNvPr>
          <p:cNvSpPr/>
          <p:nvPr/>
        </p:nvSpPr>
        <p:spPr>
          <a:xfrm>
            <a:off x="9389153" y="8004467"/>
            <a:ext cx="3692077" cy="523220"/>
          </a:xfrm>
          <a:prstGeom prst="rect">
            <a:avLst/>
          </a:prstGeom>
        </p:spPr>
        <p:txBody>
          <a:bodyPr wrap="square" lIns="91440" tIns="45720" rIns="91440" bIns="45720" anchor="t">
            <a:spAutoFit/>
          </a:bodyPr>
          <a:lstStyle/>
          <a:p>
            <a:pPr algn="ctr"/>
            <a:endParaRPr lang="en-US" sz="2800" b="1" dirty="0">
              <a:solidFill>
                <a:srgbClr val="CFB99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55A91A0D-75D1-2C1F-465E-3412E64799A5}"/>
              </a:ext>
            </a:extLst>
          </p:cNvPr>
          <p:cNvSpPr txBox="1"/>
          <p:nvPr/>
        </p:nvSpPr>
        <p:spPr>
          <a:xfrm>
            <a:off x="9968049" y="4373619"/>
            <a:ext cx="11620299"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70C0"/>
                </a:solidFill>
                <a:latin typeface="Arial"/>
                <a:cs typeface="Arial"/>
              </a:rPr>
              <a:t>Design</a:t>
            </a:r>
            <a:r>
              <a:rPr lang="en-US" sz="2400" dirty="0">
                <a:solidFill>
                  <a:srgbClr val="B1810B"/>
                </a:solidFill>
                <a:latin typeface="Arial"/>
                <a:cs typeface="Arial"/>
              </a:rPr>
              <a:t> </a:t>
            </a:r>
            <a:r>
              <a:rPr lang="en-US" sz="2400" dirty="0">
                <a:latin typeface="Arial"/>
                <a:cs typeface="Arial"/>
              </a:rPr>
              <a:t>an automated rudimentary approach that can be used to analyze and map the n-tier supply chain from external data sources</a:t>
            </a:r>
          </a:p>
          <a:p>
            <a:endParaRPr lang="en-US" sz="2400" dirty="0">
              <a:latin typeface="Arial" panose="020B0604020202020204" pitchFamily="34" charset="0"/>
              <a:cs typeface="Arial" panose="020B0604020202020204" pitchFamily="34" charset="0"/>
            </a:endParaRPr>
          </a:p>
          <a:p>
            <a:r>
              <a:rPr lang="en-US" sz="2400" b="1" dirty="0">
                <a:solidFill>
                  <a:srgbClr val="0070C0"/>
                </a:solidFill>
                <a:latin typeface="Arial"/>
                <a:cs typeface="Arial"/>
              </a:rPr>
              <a:t>Identify</a:t>
            </a:r>
            <a:r>
              <a:rPr lang="en-US" sz="2400" dirty="0">
                <a:solidFill>
                  <a:srgbClr val="B1810B"/>
                </a:solidFill>
                <a:latin typeface="Arial"/>
                <a:cs typeface="Arial"/>
              </a:rPr>
              <a:t> </a:t>
            </a:r>
            <a:r>
              <a:rPr lang="en-US" sz="2400" dirty="0">
                <a:latin typeface="Arial"/>
                <a:cs typeface="Arial"/>
              </a:rPr>
              <a:t>and </a:t>
            </a:r>
            <a:r>
              <a:rPr lang="en-US" sz="2400" b="1" dirty="0">
                <a:solidFill>
                  <a:srgbClr val="0070C0"/>
                </a:solidFill>
                <a:latin typeface="Arial"/>
                <a:cs typeface="Arial"/>
              </a:rPr>
              <a:t>analyze</a:t>
            </a:r>
            <a:r>
              <a:rPr lang="en-US" sz="2400" dirty="0">
                <a:solidFill>
                  <a:srgbClr val="B1810B"/>
                </a:solidFill>
                <a:latin typeface="Arial"/>
                <a:cs typeface="Arial"/>
              </a:rPr>
              <a:t> </a:t>
            </a:r>
            <a:r>
              <a:rPr lang="en-US" sz="2400" dirty="0">
                <a:latin typeface="Arial"/>
                <a:cs typeface="Arial"/>
              </a:rPr>
              <a:t>articles related to sustainability using NLP</a:t>
            </a:r>
          </a:p>
        </p:txBody>
      </p:sp>
      <p:sp>
        <p:nvSpPr>
          <p:cNvPr id="43" name="TextBox 42">
            <a:extLst>
              <a:ext uri="{FF2B5EF4-FFF2-40B4-BE49-F238E27FC236}">
                <a16:creationId xmlns:a16="http://schemas.microsoft.com/office/drawing/2014/main" id="{B0DF850C-1515-2B58-9182-B2D89D16C0FE}"/>
              </a:ext>
            </a:extLst>
          </p:cNvPr>
          <p:cNvSpPr txBox="1"/>
          <p:nvPr/>
        </p:nvSpPr>
        <p:spPr>
          <a:xfrm>
            <a:off x="29423" y="16754685"/>
            <a:ext cx="7099965" cy="523220"/>
          </a:xfrm>
          <a:prstGeom prst="rect">
            <a:avLst/>
          </a:prstGeom>
          <a:solidFill>
            <a:schemeClr val="tx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dirty="0">
                <a:solidFill>
                  <a:srgbClr val="DDC69A"/>
                </a:solidFill>
                <a:latin typeface="Arial" panose="020B0604020202020204" pitchFamily="34" charset="0"/>
                <a:cs typeface="Arial" panose="020B0604020202020204" pitchFamily="34" charset="0"/>
              </a:rPr>
              <a:t>BUSINESS BENEFITS</a:t>
            </a:r>
            <a:endParaRPr lang="en-US" sz="2800" b="1" dirty="0">
              <a:solidFill>
                <a:srgbClr val="B1810B"/>
              </a:solidFill>
              <a:latin typeface="Arial" panose="020B0604020202020204" pitchFamily="34" charset="0"/>
              <a:cs typeface="Arial" panose="020B0604020202020204" pitchFamily="34" charset="0"/>
            </a:endParaRPr>
          </a:p>
        </p:txBody>
      </p:sp>
      <p:pic>
        <p:nvPicPr>
          <p:cNvPr id="44" name="Graphic 44" descr="Eye with solid fill">
            <a:extLst>
              <a:ext uri="{FF2B5EF4-FFF2-40B4-BE49-F238E27FC236}">
                <a16:creationId xmlns:a16="http://schemas.microsoft.com/office/drawing/2014/main" id="{1216E60E-05F0-8642-C366-0C7F1EF1FE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2880" y="17326886"/>
            <a:ext cx="1266495" cy="1227675"/>
          </a:xfrm>
          <a:prstGeom prst="rect">
            <a:avLst/>
          </a:prstGeom>
        </p:spPr>
      </p:pic>
      <p:pic>
        <p:nvPicPr>
          <p:cNvPr id="45" name="Graphic 45" descr="Lightbulb with solid fill">
            <a:extLst>
              <a:ext uri="{FF2B5EF4-FFF2-40B4-BE49-F238E27FC236}">
                <a16:creationId xmlns:a16="http://schemas.microsoft.com/office/drawing/2014/main" id="{37D9C899-5C0D-97D5-8CDB-12A987C7DB9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4852" y="20429346"/>
            <a:ext cx="1353387" cy="1242530"/>
          </a:xfrm>
          <a:prstGeom prst="rect">
            <a:avLst/>
          </a:prstGeom>
        </p:spPr>
      </p:pic>
      <p:sp>
        <p:nvSpPr>
          <p:cNvPr id="47" name="TextBox 46">
            <a:extLst>
              <a:ext uri="{FF2B5EF4-FFF2-40B4-BE49-F238E27FC236}">
                <a16:creationId xmlns:a16="http://schemas.microsoft.com/office/drawing/2014/main" id="{F51AA34B-7159-A97B-9186-55C106DBA312}"/>
              </a:ext>
            </a:extLst>
          </p:cNvPr>
          <p:cNvSpPr txBox="1"/>
          <p:nvPr/>
        </p:nvSpPr>
        <p:spPr>
          <a:xfrm>
            <a:off x="9820025" y="14032783"/>
            <a:ext cx="1082905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p>
        </p:txBody>
      </p:sp>
      <p:pic>
        <p:nvPicPr>
          <p:cNvPr id="14" name="Picture 23" descr="Linkedin - Free social media icons">
            <a:hlinkClick r:id="rId17"/>
            <a:extLst>
              <a:ext uri="{FF2B5EF4-FFF2-40B4-BE49-F238E27FC236}">
                <a16:creationId xmlns:a16="http://schemas.microsoft.com/office/drawing/2014/main" id="{1D15A54E-3341-3BF8-542E-BA5AC1AB951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6823649" y="20813558"/>
            <a:ext cx="511038" cy="511038"/>
          </a:xfrm>
          <a:prstGeom prst="rect">
            <a:avLst/>
          </a:prstGeom>
          <a:solidFill>
            <a:schemeClr val="bg1"/>
          </a:solidFill>
        </p:spPr>
      </p:pic>
      <p:pic>
        <p:nvPicPr>
          <p:cNvPr id="19" name="Picture 23" descr="Linkedin - Free social media icons">
            <a:hlinkClick r:id="rId18"/>
            <a:extLst>
              <a:ext uri="{FF2B5EF4-FFF2-40B4-BE49-F238E27FC236}">
                <a16:creationId xmlns:a16="http://schemas.microsoft.com/office/drawing/2014/main" id="{70A532FA-9289-4339-F6B7-74FF1CACA66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239444" y="20784786"/>
            <a:ext cx="511038" cy="511038"/>
          </a:xfrm>
          <a:prstGeom prst="rect">
            <a:avLst/>
          </a:prstGeom>
          <a:solidFill>
            <a:schemeClr val="bg1"/>
          </a:solidFill>
        </p:spPr>
      </p:pic>
      <p:pic>
        <p:nvPicPr>
          <p:cNvPr id="29" name="Picture 23" descr="Linkedin - Free social media icons">
            <a:hlinkClick r:id="rId19"/>
            <a:extLst>
              <a:ext uri="{FF2B5EF4-FFF2-40B4-BE49-F238E27FC236}">
                <a16:creationId xmlns:a16="http://schemas.microsoft.com/office/drawing/2014/main" id="{D87BCD27-2561-D71C-B392-93D0389C5A0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758999" y="20842365"/>
            <a:ext cx="511038" cy="511038"/>
          </a:xfrm>
          <a:prstGeom prst="rect">
            <a:avLst/>
          </a:prstGeom>
          <a:solidFill>
            <a:schemeClr val="bg1"/>
          </a:solidFill>
        </p:spPr>
      </p:pic>
      <p:pic>
        <p:nvPicPr>
          <p:cNvPr id="49" name="Picture 23" descr="Linkedin - Free social media icons">
            <a:hlinkClick r:id="rId20"/>
            <a:extLst>
              <a:ext uri="{FF2B5EF4-FFF2-40B4-BE49-F238E27FC236}">
                <a16:creationId xmlns:a16="http://schemas.microsoft.com/office/drawing/2014/main" id="{9B68DF36-9BE3-D204-5EA0-CC0E7B660E2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170211" y="20820170"/>
            <a:ext cx="511038" cy="511038"/>
          </a:xfrm>
          <a:prstGeom prst="rect">
            <a:avLst/>
          </a:prstGeom>
          <a:solidFill>
            <a:schemeClr val="bg1"/>
          </a:solidFill>
        </p:spPr>
      </p:pic>
      <p:sp>
        <p:nvSpPr>
          <p:cNvPr id="50" name="Text Box 103">
            <a:extLst>
              <a:ext uri="{FF2B5EF4-FFF2-40B4-BE49-F238E27FC236}">
                <a16:creationId xmlns:a16="http://schemas.microsoft.com/office/drawing/2014/main" id="{AA681124-0F61-960F-3169-FED2CAB463B8}"/>
              </a:ext>
            </a:extLst>
          </p:cNvPr>
          <p:cNvSpPr txBox="1">
            <a:spLocks noChangeArrowheads="1"/>
          </p:cNvSpPr>
          <p:nvPr/>
        </p:nvSpPr>
        <p:spPr bwMode="auto">
          <a:xfrm>
            <a:off x="-218961" y="1464922"/>
            <a:ext cx="44247933"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dirty="0">
                <a:solidFill>
                  <a:schemeClr val="bg1"/>
                </a:solidFill>
                <a:latin typeface="Arial" panose="020B0604020202020204" pitchFamily="34" charset="0"/>
                <a:cs typeface="Arial" panose="020B0604020202020204" pitchFamily="34" charset="0"/>
              </a:rPr>
              <a:t>Madhulika Chilla, Shaanu Gupta, Ricardo Nunez Magana, Mateo Posada, Ziyue Tang, Prof . Yang Wang</a:t>
            </a:r>
          </a:p>
          <a:p>
            <a:pPr algn="ctr">
              <a:spcBef>
                <a:spcPct val="20000"/>
              </a:spcBef>
            </a:pPr>
            <a:r>
              <a:rPr lang="en-IN" sz="2800" dirty="0">
                <a:solidFill>
                  <a:schemeClr val="bg1"/>
                </a:solidFill>
                <a:latin typeface="Arial" panose="020B0604020202020204" pitchFamily="34" charset="0"/>
                <a:cs typeface="Arial" panose="020B0604020202020204" pitchFamily="34" charset="0"/>
              </a:rPr>
              <a:t>Purdue University, Daniels School of Business</a:t>
            </a:r>
          </a:p>
          <a:p>
            <a:pPr algn="ctr">
              <a:spcBef>
                <a:spcPct val="20000"/>
              </a:spcBef>
            </a:pPr>
            <a:r>
              <a:rPr lang="en-IN" altLang="en-US" sz="2800" dirty="0">
                <a:solidFill>
                  <a:schemeClr val="bg1"/>
                </a:solidFill>
                <a:latin typeface="Arial" panose="020B0604020202020204" pitchFamily="34" charset="0"/>
                <a:cs typeface="Arial" panose="020B0604020202020204" pitchFamily="34" charset="0"/>
              </a:rPr>
              <a:t>mchilla@purdue.edu; gupta860@purdue.edu; rnunezma@purdue.edu; mposada@purdue.edu; tang422@purdue.edu; yangwang@purdue.edu</a:t>
            </a:r>
            <a:endParaRPr lang="en-GB" altLang="en-US" sz="2800" dirty="0">
              <a:solidFill>
                <a:schemeClr val="bg1"/>
              </a:solidFill>
              <a:latin typeface="Arial" charset="0"/>
            </a:endParaRPr>
          </a:p>
        </p:txBody>
      </p:sp>
      <p:pic>
        <p:nvPicPr>
          <p:cNvPr id="26635" name="Picture 11" descr="2023 INFORMS Business Analytics Conference logo">
            <a:extLst>
              <a:ext uri="{FF2B5EF4-FFF2-40B4-BE49-F238E27FC236}">
                <a16:creationId xmlns:a16="http://schemas.microsoft.com/office/drawing/2014/main" id="{DF482F15-8C55-3A54-8CC6-3576683B6C3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8153" y="39750"/>
            <a:ext cx="3146479" cy="319376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descr="Logo, company name&#10;&#10;Description automatically generated">
            <a:extLst>
              <a:ext uri="{FF2B5EF4-FFF2-40B4-BE49-F238E27FC236}">
                <a16:creationId xmlns:a16="http://schemas.microsoft.com/office/drawing/2014/main" id="{5BAC0F98-8284-79D6-71C3-437C40F1468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0418686" y="108602"/>
            <a:ext cx="3416953" cy="3093087"/>
          </a:xfrm>
          <a:prstGeom prst="rect">
            <a:avLst/>
          </a:prstGeom>
          <a:ln>
            <a:solidFill>
              <a:schemeClr val="tx1"/>
            </a:solidFill>
          </a:ln>
        </p:spPr>
      </p:pic>
      <p:sp>
        <p:nvSpPr>
          <p:cNvPr id="60" name="Rectangle 59">
            <a:extLst>
              <a:ext uri="{FF2B5EF4-FFF2-40B4-BE49-F238E27FC236}">
                <a16:creationId xmlns:a16="http://schemas.microsoft.com/office/drawing/2014/main" id="{E084185A-1AAC-3925-8026-A469FCC702C9}"/>
              </a:ext>
            </a:extLst>
          </p:cNvPr>
          <p:cNvSpPr/>
          <p:nvPr/>
        </p:nvSpPr>
        <p:spPr bwMode="auto">
          <a:xfrm>
            <a:off x="9314026" y="6260152"/>
            <a:ext cx="9149034" cy="482655"/>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ANALYTICS PROBLEM</a:t>
            </a:r>
            <a:endParaRPr lang="en-US" sz="1800" dirty="0"/>
          </a:p>
        </p:txBody>
      </p:sp>
      <p:sp>
        <p:nvSpPr>
          <p:cNvPr id="61" name="Rectangle 60">
            <a:extLst>
              <a:ext uri="{FF2B5EF4-FFF2-40B4-BE49-F238E27FC236}">
                <a16:creationId xmlns:a16="http://schemas.microsoft.com/office/drawing/2014/main" id="{B0A46C4B-2981-B608-AB55-5A8C05B74FAD}"/>
              </a:ext>
            </a:extLst>
          </p:cNvPr>
          <p:cNvSpPr/>
          <p:nvPr/>
        </p:nvSpPr>
        <p:spPr bwMode="auto">
          <a:xfrm>
            <a:off x="9347014" y="11626070"/>
            <a:ext cx="5051982" cy="563785"/>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DATA</a:t>
            </a:r>
            <a:endParaRPr lang="en-US" sz="1800" dirty="0"/>
          </a:p>
        </p:txBody>
      </p:sp>
      <p:sp>
        <p:nvSpPr>
          <p:cNvPr id="62" name="Rectangle 61">
            <a:extLst>
              <a:ext uri="{FF2B5EF4-FFF2-40B4-BE49-F238E27FC236}">
                <a16:creationId xmlns:a16="http://schemas.microsoft.com/office/drawing/2014/main" id="{927C2E25-83BD-8CB1-1451-E0281F87F9B9}"/>
              </a:ext>
            </a:extLst>
          </p:cNvPr>
          <p:cNvSpPr/>
          <p:nvPr/>
        </p:nvSpPr>
        <p:spPr bwMode="auto">
          <a:xfrm>
            <a:off x="9323833" y="15946050"/>
            <a:ext cx="9847985" cy="55326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MATHEMATICAL EQUATION FOR ESG SCORE</a:t>
            </a:r>
            <a:endParaRPr lang="en-US" sz="1800" dirty="0"/>
          </a:p>
        </p:txBody>
      </p:sp>
      <p:pic>
        <p:nvPicPr>
          <p:cNvPr id="13" name="Graphic 12" descr="Badge Question Mark with solid fill">
            <a:extLst>
              <a:ext uri="{FF2B5EF4-FFF2-40B4-BE49-F238E27FC236}">
                <a16:creationId xmlns:a16="http://schemas.microsoft.com/office/drawing/2014/main" id="{808C22EA-C9DB-164D-BFDD-056DB80E2C4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182651" y="5282489"/>
            <a:ext cx="773650" cy="773650"/>
          </a:xfrm>
          <a:prstGeom prst="rect">
            <a:avLst/>
          </a:prstGeom>
        </p:spPr>
      </p:pic>
      <p:pic>
        <p:nvPicPr>
          <p:cNvPr id="17" name="Graphic 16" descr="Badge Question Mark with solid fill">
            <a:extLst>
              <a:ext uri="{FF2B5EF4-FFF2-40B4-BE49-F238E27FC236}">
                <a16:creationId xmlns:a16="http://schemas.microsoft.com/office/drawing/2014/main" id="{9375C20D-2D41-4748-8BEF-CAF132255D3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182651" y="4328580"/>
            <a:ext cx="773650" cy="773650"/>
          </a:xfrm>
          <a:prstGeom prst="rect">
            <a:avLst/>
          </a:prstGeom>
        </p:spPr>
      </p:pic>
      <p:sp>
        <p:nvSpPr>
          <p:cNvPr id="48" name="TextBox 1">
            <a:extLst>
              <a:ext uri="{FF2B5EF4-FFF2-40B4-BE49-F238E27FC236}">
                <a16:creationId xmlns:a16="http://schemas.microsoft.com/office/drawing/2014/main" id="{B20E0687-2DD9-30B8-10D7-33B31FCF5E7C}"/>
              </a:ext>
            </a:extLst>
          </p:cNvPr>
          <p:cNvSpPr txBox="1"/>
          <p:nvPr/>
        </p:nvSpPr>
        <p:spPr>
          <a:xfrm>
            <a:off x="9641425" y="15137420"/>
            <a:ext cx="3745240" cy="83099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a:lstStyle>
          <a:p>
            <a:pPr algn="ctr"/>
            <a:r>
              <a:rPr lang="en-US" sz="2400" dirty="0">
                <a:latin typeface="Arial"/>
                <a:cs typeface="Times"/>
              </a:rPr>
              <a:t>Private Data Repository</a:t>
            </a:r>
          </a:p>
          <a:p>
            <a:pPr algn="ctr"/>
            <a:endParaRPr lang="en-US" sz="2400" dirty="0">
              <a:latin typeface="Arial"/>
              <a:cs typeface="Times"/>
            </a:endParaRPr>
          </a:p>
        </p:txBody>
      </p:sp>
      <p:sp>
        <p:nvSpPr>
          <p:cNvPr id="53" name="TextBox 1">
            <a:extLst>
              <a:ext uri="{FF2B5EF4-FFF2-40B4-BE49-F238E27FC236}">
                <a16:creationId xmlns:a16="http://schemas.microsoft.com/office/drawing/2014/main" id="{98C00677-BD29-C8A4-316D-643685B2F810}"/>
              </a:ext>
            </a:extLst>
          </p:cNvPr>
          <p:cNvSpPr txBox="1"/>
          <p:nvPr/>
        </p:nvSpPr>
        <p:spPr>
          <a:xfrm>
            <a:off x="13607551" y="15155797"/>
            <a:ext cx="2516156"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a:lstStyle>
          <a:p>
            <a:pPr algn="ctr"/>
            <a:r>
              <a:rPr lang="en-US" sz="2400" dirty="0">
                <a:latin typeface="Arial"/>
                <a:cs typeface="Times"/>
              </a:rPr>
              <a:t>Literary Sources</a:t>
            </a:r>
          </a:p>
        </p:txBody>
      </p:sp>
      <p:sp>
        <p:nvSpPr>
          <p:cNvPr id="54" name="TextBox 53">
            <a:extLst>
              <a:ext uri="{FF2B5EF4-FFF2-40B4-BE49-F238E27FC236}">
                <a16:creationId xmlns:a16="http://schemas.microsoft.com/office/drawing/2014/main" id="{95CC39BD-E89C-50CC-2E14-AE38B257182F}"/>
              </a:ext>
            </a:extLst>
          </p:cNvPr>
          <p:cNvSpPr txBox="1"/>
          <p:nvPr/>
        </p:nvSpPr>
        <p:spPr>
          <a:xfrm>
            <a:off x="16191211" y="13840637"/>
            <a:ext cx="53004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a:cs typeface="Arial"/>
              </a:rPr>
              <a:t># OF SOURCES ~14K</a:t>
            </a:r>
            <a:r>
              <a:rPr lang="en-US" sz="2400" b="1" dirty="0">
                <a:latin typeface="Arial"/>
                <a:cs typeface="Calibri"/>
              </a:rPr>
              <a:t>​</a:t>
            </a:r>
            <a:endParaRPr lang="en-US" sz="2400" b="1" dirty="0">
              <a:latin typeface="Arial"/>
              <a:cs typeface="Times"/>
            </a:endParaRPr>
          </a:p>
        </p:txBody>
      </p:sp>
      <p:pic>
        <p:nvPicPr>
          <p:cNvPr id="128" name="Graphic 127" descr="Database with solid fill">
            <a:extLst>
              <a:ext uri="{FF2B5EF4-FFF2-40B4-BE49-F238E27FC236}">
                <a16:creationId xmlns:a16="http://schemas.microsoft.com/office/drawing/2014/main" id="{720FF98A-5F7F-DB1C-932C-B3FACB15C7C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442944" y="13292908"/>
            <a:ext cx="1961803" cy="1961803"/>
          </a:xfrm>
          <a:prstGeom prst="rect">
            <a:avLst/>
          </a:prstGeom>
        </p:spPr>
      </p:pic>
      <p:pic>
        <p:nvPicPr>
          <p:cNvPr id="130" name="Graphic 129" descr="Lock with solid fill">
            <a:extLst>
              <a:ext uri="{FF2B5EF4-FFF2-40B4-BE49-F238E27FC236}">
                <a16:creationId xmlns:a16="http://schemas.microsoft.com/office/drawing/2014/main" id="{B03F78F7-FFBD-0D8A-12EF-D35422D4B81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514045" y="14363064"/>
            <a:ext cx="914400" cy="914400"/>
          </a:xfrm>
          <a:prstGeom prst="rect">
            <a:avLst/>
          </a:prstGeom>
        </p:spPr>
      </p:pic>
      <p:pic>
        <p:nvPicPr>
          <p:cNvPr id="136" name="Graphic 135" descr="Calculator with solid fill">
            <a:extLst>
              <a:ext uri="{FF2B5EF4-FFF2-40B4-BE49-F238E27FC236}">
                <a16:creationId xmlns:a16="http://schemas.microsoft.com/office/drawing/2014/main" id="{793D4598-449B-B85A-78C3-4F8BDE45BA89}"/>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24407" y="18914266"/>
            <a:ext cx="1312213" cy="1312213"/>
          </a:xfrm>
          <a:prstGeom prst="rect">
            <a:avLst/>
          </a:prstGeom>
        </p:spPr>
      </p:pic>
      <p:pic>
        <p:nvPicPr>
          <p:cNvPr id="138" name="Graphic 137" descr="Blockchain with solid fill">
            <a:extLst>
              <a:ext uri="{FF2B5EF4-FFF2-40B4-BE49-F238E27FC236}">
                <a16:creationId xmlns:a16="http://schemas.microsoft.com/office/drawing/2014/main" id="{6EC8EA76-20EC-DA72-93E3-1E812E9D002E}"/>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4069658" y="13529674"/>
            <a:ext cx="1613726" cy="1613726"/>
          </a:xfrm>
          <a:prstGeom prst="rect">
            <a:avLst/>
          </a:prstGeom>
        </p:spPr>
      </p:pic>
      <p:sp>
        <p:nvSpPr>
          <p:cNvPr id="139" name="Rectangle 138">
            <a:extLst>
              <a:ext uri="{FF2B5EF4-FFF2-40B4-BE49-F238E27FC236}">
                <a16:creationId xmlns:a16="http://schemas.microsoft.com/office/drawing/2014/main" id="{0F4C935C-EAD3-8DE2-05B2-1C570C9E768D}"/>
              </a:ext>
            </a:extLst>
          </p:cNvPr>
          <p:cNvSpPr/>
          <p:nvPr/>
        </p:nvSpPr>
        <p:spPr bwMode="auto">
          <a:xfrm>
            <a:off x="34197180" y="3273620"/>
            <a:ext cx="9009573" cy="616285"/>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DEPLOYMENT  AND LIFE CYCLE MANAGEMENT </a:t>
            </a:r>
            <a:endParaRPr lang="en-US" sz="1800" dirty="0"/>
          </a:p>
        </p:txBody>
      </p:sp>
      <p:sp>
        <p:nvSpPr>
          <p:cNvPr id="147" name="TextBox 146">
            <a:extLst>
              <a:ext uri="{FF2B5EF4-FFF2-40B4-BE49-F238E27FC236}">
                <a16:creationId xmlns:a16="http://schemas.microsoft.com/office/drawing/2014/main" id="{E9CBB567-F915-F5CA-C7B4-A8E99E86FF69}"/>
              </a:ext>
            </a:extLst>
          </p:cNvPr>
          <p:cNvSpPr txBox="1"/>
          <p:nvPr/>
        </p:nvSpPr>
        <p:spPr>
          <a:xfrm>
            <a:off x="16235302" y="13304788"/>
            <a:ext cx="53004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a:cs typeface="Arial"/>
              </a:rPr>
              <a:t># OF ARTICLES ~4M</a:t>
            </a:r>
            <a:r>
              <a:rPr lang="en-US" sz="2400" b="1" dirty="0">
                <a:latin typeface="Arial"/>
                <a:cs typeface="Calibri"/>
              </a:rPr>
              <a:t>​</a:t>
            </a:r>
            <a:endParaRPr lang="en-US" sz="2400" b="1" dirty="0">
              <a:latin typeface="Arial"/>
              <a:cs typeface="Times"/>
            </a:endParaRPr>
          </a:p>
        </p:txBody>
      </p:sp>
      <p:sp>
        <p:nvSpPr>
          <p:cNvPr id="148" name="TextBox 147">
            <a:extLst>
              <a:ext uri="{FF2B5EF4-FFF2-40B4-BE49-F238E27FC236}">
                <a16:creationId xmlns:a16="http://schemas.microsoft.com/office/drawing/2014/main" id="{B696DFE0-B8A6-03BA-6A71-2FF8A071B561}"/>
              </a:ext>
            </a:extLst>
          </p:cNvPr>
          <p:cNvSpPr txBox="1"/>
          <p:nvPr/>
        </p:nvSpPr>
        <p:spPr>
          <a:xfrm>
            <a:off x="16166018" y="14323024"/>
            <a:ext cx="53004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a:cs typeface="Arial"/>
              </a:rPr>
              <a:t># OF REGIONS ~900</a:t>
            </a:r>
            <a:r>
              <a:rPr lang="en-US" sz="2400" b="1" dirty="0">
                <a:latin typeface="Arial"/>
                <a:cs typeface="Calibri"/>
              </a:rPr>
              <a:t>​</a:t>
            </a:r>
            <a:endParaRPr lang="en-US" sz="2400" b="1" dirty="0">
              <a:latin typeface="Arial"/>
              <a:cs typeface="Times"/>
            </a:endParaRPr>
          </a:p>
        </p:txBody>
      </p:sp>
      <p:sp>
        <p:nvSpPr>
          <p:cNvPr id="149" name="TextBox 148">
            <a:extLst>
              <a:ext uri="{FF2B5EF4-FFF2-40B4-BE49-F238E27FC236}">
                <a16:creationId xmlns:a16="http://schemas.microsoft.com/office/drawing/2014/main" id="{6D51076E-43E5-DFFE-794E-E170F89E42D6}"/>
              </a:ext>
            </a:extLst>
          </p:cNvPr>
          <p:cNvSpPr txBox="1"/>
          <p:nvPr/>
        </p:nvSpPr>
        <p:spPr>
          <a:xfrm>
            <a:off x="16166018" y="14812813"/>
            <a:ext cx="53004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a:cs typeface="Arial"/>
              </a:rPr>
              <a:t># OF COMPANIES ~400K</a:t>
            </a:r>
            <a:r>
              <a:rPr lang="en-US" sz="2400" b="1" dirty="0">
                <a:latin typeface="Arial"/>
                <a:cs typeface="Calibri"/>
              </a:rPr>
              <a:t>​</a:t>
            </a:r>
            <a:endParaRPr lang="en-US" sz="2400" b="1" dirty="0">
              <a:latin typeface="Arial"/>
              <a:cs typeface="Times"/>
            </a:endParaRPr>
          </a:p>
        </p:txBody>
      </p:sp>
      <p:sp>
        <p:nvSpPr>
          <p:cNvPr id="150" name="TextBox 149">
            <a:extLst>
              <a:ext uri="{FF2B5EF4-FFF2-40B4-BE49-F238E27FC236}">
                <a16:creationId xmlns:a16="http://schemas.microsoft.com/office/drawing/2014/main" id="{098BDD7C-80C9-ECA7-E24D-7FAEC9D9A78C}"/>
              </a:ext>
            </a:extLst>
          </p:cNvPr>
          <p:cNvSpPr txBox="1"/>
          <p:nvPr/>
        </p:nvSpPr>
        <p:spPr>
          <a:xfrm>
            <a:off x="16166018" y="15262156"/>
            <a:ext cx="53004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a:cs typeface="Arial"/>
              </a:rPr>
              <a:t>Most Articles &lt; 2500 words</a:t>
            </a:r>
            <a:endParaRPr lang="en-US" sz="2400" b="1" dirty="0">
              <a:latin typeface="Arial"/>
              <a:cs typeface="Times"/>
            </a:endParaRPr>
          </a:p>
        </p:txBody>
      </p:sp>
      <p:sp>
        <p:nvSpPr>
          <p:cNvPr id="5" name="TextBox 4">
            <a:extLst>
              <a:ext uri="{FF2B5EF4-FFF2-40B4-BE49-F238E27FC236}">
                <a16:creationId xmlns:a16="http://schemas.microsoft.com/office/drawing/2014/main" id="{316EFE2F-7A95-6E60-65C8-90D1DE12AB68}"/>
              </a:ext>
            </a:extLst>
          </p:cNvPr>
          <p:cNvSpPr txBox="1"/>
          <p:nvPr/>
        </p:nvSpPr>
        <p:spPr>
          <a:xfrm>
            <a:off x="9314026" y="16263678"/>
            <a:ext cx="1174802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a:buChar char="Ø"/>
            </a:pPr>
            <a:endParaRPr lang="en-US" sz="2400" dirty="0">
              <a:latin typeface="Arial" panose="020B0604020202020204" pitchFamily="34" charset="0"/>
              <a:cs typeface="Arial" panose="020B0604020202020204" pitchFamily="34" charset="0"/>
            </a:endParaRPr>
          </a:p>
          <a:p>
            <a:r>
              <a:rPr lang="en-US" sz="2400" b="1" dirty="0">
                <a:solidFill>
                  <a:srgbClr val="0070C0"/>
                </a:solidFill>
                <a:latin typeface="Arial" panose="020B0604020202020204" pitchFamily="34" charset="0"/>
                <a:cs typeface="Arial" panose="020B0604020202020204" pitchFamily="34" charset="0"/>
              </a:rPr>
              <a:t>Final Risk Score </a:t>
            </a:r>
            <a:r>
              <a:rPr lang="en-US" sz="2400" dirty="0">
                <a:latin typeface="Arial" panose="020B0604020202020204" pitchFamily="34" charset="0"/>
                <a:cs typeface="Arial" panose="020B0604020202020204" pitchFamily="34" charset="0"/>
              </a:rPr>
              <a:t>represents the companies' final sustainability risk. </a:t>
            </a:r>
          </a:p>
        </p:txBody>
      </p:sp>
      <p:sp>
        <p:nvSpPr>
          <p:cNvPr id="6" name="TextBox 5">
            <a:extLst>
              <a:ext uri="{FF2B5EF4-FFF2-40B4-BE49-F238E27FC236}">
                <a16:creationId xmlns:a16="http://schemas.microsoft.com/office/drawing/2014/main" id="{5DFE5535-A372-B78E-E419-DE43D7532325}"/>
              </a:ext>
            </a:extLst>
          </p:cNvPr>
          <p:cNvSpPr txBox="1"/>
          <p:nvPr/>
        </p:nvSpPr>
        <p:spPr>
          <a:xfrm>
            <a:off x="34685434" y="7588968"/>
            <a:ext cx="9205766" cy="830997"/>
          </a:xfrm>
          <a:prstGeom prst="rect">
            <a:avLst/>
          </a:prstGeom>
          <a:noFill/>
        </p:spPr>
        <p:txBody>
          <a:bodyPr wrap="square" lIns="91440" tIns="45720" rIns="91440" bIns="45720" anchor="t">
            <a:spAutoFit/>
          </a:bodyPr>
          <a:lstStyle/>
          <a:p>
            <a:pPr algn="ctr"/>
            <a:r>
              <a:rPr lang="en-US" sz="2400" b="0" i="0" dirty="0">
                <a:effectLst/>
                <a:latin typeface="Arial" panose="020B0604020202020204" pitchFamily="34" charset="0"/>
                <a:cs typeface="Arial" panose="020B0604020202020204" pitchFamily="34" charset="0"/>
              </a:rPr>
              <a:t>Classifying company articles as positive or negative based on content to calculate scores.</a:t>
            </a:r>
            <a:endParaRPr lang="en-US" sz="2400" spc="10" dirty="0">
              <a:latin typeface="Arial" panose="020B0604020202020204" pitchFamily="34" charset="0"/>
              <a:cs typeface="Arial" panose="020B0604020202020204" pitchFamily="34" charset="0"/>
            </a:endParaRPr>
          </a:p>
        </p:txBody>
      </p:sp>
      <p:sp>
        <p:nvSpPr>
          <p:cNvPr id="225" name="Rectangle 224">
            <a:extLst>
              <a:ext uri="{FF2B5EF4-FFF2-40B4-BE49-F238E27FC236}">
                <a16:creationId xmlns:a16="http://schemas.microsoft.com/office/drawing/2014/main" id="{F50DB88B-AA47-17B5-0E50-44F394687D85}"/>
              </a:ext>
            </a:extLst>
          </p:cNvPr>
          <p:cNvSpPr/>
          <p:nvPr/>
        </p:nvSpPr>
        <p:spPr bwMode="auto">
          <a:xfrm>
            <a:off x="34176378" y="12436580"/>
            <a:ext cx="9009573" cy="616285"/>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CONCLUSION AND FUTURE SCOPE</a:t>
            </a:r>
            <a:endParaRPr lang="en-US" sz="1800" dirty="0"/>
          </a:p>
        </p:txBody>
      </p:sp>
      <p:sp>
        <p:nvSpPr>
          <p:cNvPr id="226" name="Rectangle 225">
            <a:extLst>
              <a:ext uri="{FF2B5EF4-FFF2-40B4-BE49-F238E27FC236}">
                <a16:creationId xmlns:a16="http://schemas.microsoft.com/office/drawing/2014/main" id="{E5D16F2F-A4B4-0E37-83C9-810E002A27C6}"/>
              </a:ext>
            </a:extLst>
          </p:cNvPr>
          <p:cNvSpPr/>
          <p:nvPr/>
        </p:nvSpPr>
        <p:spPr bwMode="auto">
          <a:xfrm>
            <a:off x="34176378" y="17746868"/>
            <a:ext cx="9009573" cy="616285"/>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2800" b="1" dirty="0">
                <a:solidFill>
                  <a:srgbClr val="CFB991"/>
                </a:solidFill>
                <a:latin typeface="Arial"/>
                <a:cs typeface="Arial"/>
              </a:rPr>
              <a:t>ACKNOWLEDGEMENT</a:t>
            </a:r>
            <a:endParaRPr lang="en-US" sz="1800" dirty="0"/>
          </a:p>
        </p:txBody>
      </p:sp>
      <p:pic>
        <p:nvPicPr>
          <p:cNvPr id="228" name="Graphic 227" descr="Bullseye with solid fill">
            <a:extLst>
              <a:ext uri="{FF2B5EF4-FFF2-40B4-BE49-F238E27FC236}">
                <a16:creationId xmlns:a16="http://schemas.microsoft.com/office/drawing/2014/main" id="{84A41882-3997-DE04-367E-3C74F18DA04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4201468" y="13186102"/>
            <a:ext cx="1197759" cy="1197759"/>
          </a:xfrm>
          <a:prstGeom prst="rect">
            <a:avLst/>
          </a:prstGeom>
        </p:spPr>
      </p:pic>
      <p:sp>
        <p:nvSpPr>
          <p:cNvPr id="229" name="TextBox 228">
            <a:extLst>
              <a:ext uri="{FF2B5EF4-FFF2-40B4-BE49-F238E27FC236}">
                <a16:creationId xmlns:a16="http://schemas.microsoft.com/office/drawing/2014/main" id="{FA5C485D-1348-BB02-40E3-6B0EEFD3CAF0}"/>
              </a:ext>
            </a:extLst>
          </p:cNvPr>
          <p:cNvSpPr txBox="1"/>
          <p:nvPr/>
        </p:nvSpPr>
        <p:spPr>
          <a:xfrm>
            <a:off x="35577623" y="13281891"/>
            <a:ext cx="7846847" cy="830997"/>
          </a:xfrm>
          <a:prstGeom prst="rect">
            <a:avLst/>
          </a:prstGeom>
          <a:noFill/>
        </p:spPr>
        <p:txBody>
          <a:bodyPr wrap="square" rtlCol="0">
            <a:spAutoFit/>
          </a:bodyPr>
          <a:lstStyle/>
          <a:p>
            <a:r>
              <a:rPr lang="en-US" sz="2400" b="1" dirty="0">
                <a:solidFill>
                  <a:srgbClr val="0070C0"/>
                </a:solidFill>
                <a:latin typeface="Arial" panose="020B0604020202020204" pitchFamily="34" charset="0"/>
                <a:cs typeface="Arial" panose="020B0604020202020204" pitchFamily="34" charset="0"/>
              </a:rPr>
              <a:t>Accuracy Rate </a:t>
            </a:r>
            <a:r>
              <a:rPr lang="en-US" sz="2400" b="1" dirty="0">
                <a:latin typeface="Arial" panose="020B0604020202020204" pitchFamily="34" charset="0"/>
                <a:cs typeface="Arial" panose="020B0604020202020204" pitchFamily="34" charset="0"/>
              </a:rPr>
              <a:t>~ 70% </a:t>
            </a:r>
            <a:r>
              <a:rPr lang="en-US" sz="2400" dirty="0">
                <a:latin typeface="Arial" panose="020B0604020202020204" pitchFamily="34" charset="0"/>
                <a:cs typeface="Arial" panose="020B0604020202020204" pitchFamily="34" charset="0"/>
              </a:rPr>
              <a:t>in matching </a:t>
            </a:r>
            <a:r>
              <a:rPr lang="en-US" sz="2400" b="1" dirty="0">
                <a:latin typeface="Arial" panose="020B0604020202020204" pitchFamily="34" charset="0"/>
                <a:cs typeface="Arial" panose="020B0604020202020204" pitchFamily="34" charset="0"/>
              </a:rPr>
              <a:t>5000</a:t>
            </a:r>
            <a:r>
              <a:rPr lang="en-US" sz="2400" dirty="0">
                <a:latin typeface="Arial" panose="020B0604020202020204" pitchFamily="34" charset="0"/>
                <a:cs typeface="Arial" panose="020B0604020202020204" pitchFamily="34" charset="0"/>
              </a:rPr>
              <a:t> suppliers to their respective companies </a:t>
            </a:r>
          </a:p>
        </p:txBody>
      </p:sp>
      <p:pic>
        <p:nvPicPr>
          <p:cNvPr id="18" name="Graphic 17" descr="Dance steps with solid fill">
            <a:extLst>
              <a:ext uri="{FF2B5EF4-FFF2-40B4-BE49-F238E27FC236}">
                <a16:creationId xmlns:a16="http://schemas.microsoft.com/office/drawing/2014/main" id="{E57B6232-3D2F-211E-BE96-5DB24040D7D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1920896" y="14438544"/>
            <a:ext cx="1210201" cy="1210201"/>
          </a:xfrm>
          <a:prstGeom prst="rect">
            <a:avLst/>
          </a:prstGeom>
        </p:spPr>
      </p:pic>
      <p:sp>
        <p:nvSpPr>
          <p:cNvPr id="26" name="TextBox 25">
            <a:extLst>
              <a:ext uri="{FF2B5EF4-FFF2-40B4-BE49-F238E27FC236}">
                <a16:creationId xmlns:a16="http://schemas.microsoft.com/office/drawing/2014/main" id="{97C0AC43-98AE-7440-1C7E-BF7DE909B043}"/>
              </a:ext>
            </a:extLst>
          </p:cNvPr>
          <p:cNvSpPr txBox="1"/>
          <p:nvPr/>
        </p:nvSpPr>
        <p:spPr>
          <a:xfrm>
            <a:off x="34325315" y="14640202"/>
            <a:ext cx="7705070" cy="830997"/>
          </a:xfrm>
          <a:prstGeom prst="rect">
            <a:avLst/>
          </a:prstGeom>
          <a:noFill/>
        </p:spPr>
        <p:txBody>
          <a:bodyPr wrap="square" rtlCol="0">
            <a:spAutoFit/>
          </a:bodyPr>
          <a:lstStyle/>
          <a:p>
            <a:r>
              <a:rPr lang="en-US" sz="2400" b="1" dirty="0">
                <a:solidFill>
                  <a:srgbClr val="0070C0"/>
                </a:solidFill>
                <a:latin typeface="Arial" panose="020B0604020202020204" pitchFamily="34" charset="0"/>
                <a:cs typeface="Arial" panose="020B0604020202020204" pitchFamily="34" charset="0"/>
              </a:rPr>
              <a:t>Approach</a:t>
            </a:r>
            <a:r>
              <a:rPr lang="en-US" sz="2400" b="1"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helps monitor supply chain risks in real time to countermeasure the disruptions and threats</a:t>
            </a:r>
          </a:p>
        </p:txBody>
      </p:sp>
      <p:pic>
        <p:nvPicPr>
          <p:cNvPr id="32" name="Graphic 31" descr="Abacus with solid fill">
            <a:extLst>
              <a:ext uri="{FF2B5EF4-FFF2-40B4-BE49-F238E27FC236}">
                <a16:creationId xmlns:a16="http://schemas.microsoft.com/office/drawing/2014/main" id="{7E30577C-47FB-0CF3-EA7F-3FEB93BC5AC6}"/>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4320172" y="15931285"/>
            <a:ext cx="1161444" cy="1161444"/>
          </a:xfrm>
          <a:prstGeom prst="rect">
            <a:avLst/>
          </a:prstGeom>
        </p:spPr>
      </p:pic>
      <p:sp>
        <p:nvSpPr>
          <p:cNvPr id="33" name="TextBox 32">
            <a:extLst>
              <a:ext uri="{FF2B5EF4-FFF2-40B4-BE49-F238E27FC236}">
                <a16:creationId xmlns:a16="http://schemas.microsoft.com/office/drawing/2014/main" id="{752DE319-386B-E9A1-33C8-80036176C0C9}"/>
              </a:ext>
            </a:extLst>
          </p:cNvPr>
          <p:cNvSpPr txBox="1"/>
          <p:nvPr/>
        </p:nvSpPr>
        <p:spPr>
          <a:xfrm>
            <a:off x="35592410" y="15985773"/>
            <a:ext cx="7846847" cy="1200329"/>
          </a:xfrm>
          <a:prstGeom prst="rect">
            <a:avLst/>
          </a:prstGeom>
          <a:noFill/>
        </p:spPr>
        <p:txBody>
          <a:bodyPr wrap="square" rtlCol="0">
            <a:spAutoFit/>
          </a:bodyPr>
          <a:lstStyle/>
          <a:p>
            <a:r>
              <a:rPr lang="en-US" sz="2400" b="1" dirty="0">
                <a:solidFill>
                  <a:srgbClr val="0070C0"/>
                </a:solidFill>
                <a:latin typeface="Arial" panose="020B0604020202020204" pitchFamily="34" charset="0"/>
                <a:cs typeface="Arial" panose="020B0604020202020204" pitchFamily="34" charset="0"/>
              </a:rPr>
              <a:t>Relationship Extraction </a:t>
            </a:r>
            <a:r>
              <a:rPr lang="en-US" sz="2400" dirty="0">
                <a:latin typeface="Arial" panose="020B0604020202020204" pitchFamily="34" charset="0"/>
                <a:cs typeface="Arial" panose="020B0604020202020204" pitchFamily="34" charset="0"/>
              </a:rPr>
              <a:t>from news articles using BERT or other NLP techniques will accelerate the problem recognition and its solutions</a:t>
            </a:r>
          </a:p>
        </p:txBody>
      </p:sp>
      <p:sp>
        <p:nvSpPr>
          <p:cNvPr id="3" name="TextBox 2">
            <a:extLst>
              <a:ext uri="{FF2B5EF4-FFF2-40B4-BE49-F238E27FC236}">
                <a16:creationId xmlns:a16="http://schemas.microsoft.com/office/drawing/2014/main" id="{56BD6CFE-4DB0-BA55-A103-6D207F49CBDE}"/>
              </a:ext>
            </a:extLst>
          </p:cNvPr>
          <p:cNvSpPr txBox="1"/>
          <p:nvPr/>
        </p:nvSpPr>
        <p:spPr>
          <a:xfrm>
            <a:off x="1830945" y="4163313"/>
            <a:ext cx="7103953" cy="3785652"/>
          </a:xfrm>
          <a:prstGeom prst="rect">
            <a:avLst/>
          </a:prstGeom>
          <a:noFill/>
        </p:spPr>
        <p:txBody>
          <a:bodyPr wrap="square" lIns="91440" tIns="45720" rIns="91440" bIns="45720" rtlCol="0" anchor="t">
            <a:spAutoFit/>
          </a:bodyPr>
          <a:lstStyle/>
          <a:p>
            <a:pPr algn="just"/>
            <a:r>
              <a:rPr lang="en-US" sz="2400" spc="10" dirty="0">
                <a:latin typeface="Arial"/>
                <a:cs typeface="Arial"/>
              </a:rPr>
              <a:t>Globalization and supply chain disruptions have led companies to reevaluate their sustainability and supply chain resiliency strategies. The lack of transparency in upstream and downstream data have prevented companies from acquiring optimal supply chain visibility.</a:t>
            </a:r>
            <a:endParaRPr lang="en-US" dirty="0"/>
          </a:p>
          <a:p>
            <a:pPr algn="just"/>
            <a:endParaRPr lang="en-US" sz="2400" spc="10" dirty="0">
              <a:latin typeface="Arial"/>
              <a:cs typeface="Arial"/>
            </a:endParaRPr>
          </a:p>
          <a:p>
            <a:pPr algn="just"/>
            <a:r>
              <a:rPr lang="en-US" sz="2400" spc="10" dirty="0">
                <a:latin typeface="Arial"/>
                <a:cs typeface="Arial"/>
              </a:rPr>
              <a:t>These obstacles prevent businesses from:</a:t>
            </a:r>
            <a:endParaRPr lang="en-US" dirty="0"/>
          </a:p>
          <a:p>
            <a:pPr algn="just"/>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pic>
        <p:nvPicPr>
          <p:cNvPr id="28" name="Graphic 27" descr="Earth globe: Americas with solid fill">
            <a:extLst>
              <a:ext uri="{FF2B5EF4-FFF2-40B4-BE49-F238E27FC236}">
                <a16:creationId xmlns:a16="http://schemas.microsoft.com/office/drawing/2014/main" id="{4F7289C8-B52D-3A42-2E47-B825BB4C8DF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39815" y="4638264"/>
            <a:ext cx="1544545" cy="1522640"/>
          </a:xfrm>
          <a:prstGeom prst="rect">
            <a:avLst/>
          </a:prstGeom>
        </p:spPr>
      </p:pic>
      <p:pic>
        <p:nvPicPr>
          <p:cNvPr id="34" name="Graphic 33" descr="Arrow Up with solid fill">
            <a:extLst>
              <a:ext uri="{FF2B5EF4-FFF2-40B4-BE49-F238E27FC236}">
                <a16:creationId xmlns:a16="http://schemas.microsoft.com/office/drawing/2014/main" id="{E99B5347-CF2A-EC75-FD3F-38F5D63DA0A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865340" y="4798588"/>
            <a:ext cx="751928" cy="1176240"/>
          </a:xfrm>
          <a:prstGeom prst="rect">
            <a:avLst/>
          </a:prstGeom>
        </p:spPr>
      </p:pic>
      <p:pic>
        <p:nvPicPr>
          <p:cNvPr id="41" name="Graphic 40" descr="Search Inventory with solid fill">
            <a:extLst>
              <a:ext uri="{FF2B5EF4-FFF2-40B4-BE49-F238E27FC236}">
                <a16:creationId xmlns:a16="http://schemas.microsoft.com/office/drawing/2014/main" id="{FFFBAD26-204A-D957-4046-373FF14C7480}"/>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6595411" y="15831270"/>
            <a:ext cx="816592" cy="840430"/>
          </a:xfrm>
          <a:prstGeom prst="rect">
            <a:avLst/>
          </a:prstGeom>
        </p:spPr>
      </p:pic>
      <p:sp>
        <p:nvSpPr>
          <p:cNvPr id="42" name="TextBox 41">
            <a:extLst>
              <a:ext uri="{FF2B5EF4-FFF2-40B4-BE49-F238E27FC236}">
                <a16:creationId xmlns:a16="http://schemas.microsoft.com/office/drawing/2014/main" id="{745F373B-C3FA-18AC-FF8A-09650084FEA5}"/>
              </a:ext>
            </a:extLst>
          </p:cNvPr>
          <p:cNvSpPr txBox="1"/>
          <p:nvPr/>
        </p:nvSpPr>
        <p:spPr>
          <a:xfrm>
            <a:off x="1344315" y="8594059"/>
            <a:ext cx="7258388" cy="742600"/>
          </a:xfrm>
          <a:prstGeom prst="rect">
            <a:avLst/>
          </a:prstGeom>
          <a:noFill/>
        </p:spPr>
        <p:txBody>
          <a:bodyPr wrap="square" lIns="91440" tIns="45720" rIns="91440" bIns="45720" rtlCol="0" anchor="t">
            <a:spAutoFit/>
          </a:bodyPr>
          <a:lstStyle/>
          <a:p>
            <a:pPr algn="ctr">
              <a:lnSpc>
                <a:spcPct val="200000"/>
              </a:lnSpc>
            </a:pPr>
            <a:r>
              <a:rPr lang="en-US" sz="2400" b="1" dirty="0">
                <a:solidFill>
                  <a:srgbClr val="0070C0"/>
                </a:solidFill>
                <a:latin typeface="Arial" panose="020B0604020202020204" pitchFamily="34" charset="0"/>
                <a:cs typeface="Arial" panose="020B0604020202020204" pitchFamily="34" charset="0"/>
              </a:rPr>
              <a:t>Evaluating risks based on suppliers' attributes</a:t>
            </a:r>
          </a:p>
        </p:txBody>
      </p:sp>
      <p:sp>
        <p:nvSpPr>
          <p:cNvPr id="51" name="TextBox 50">
            <a:extLst>
              <a:ext uri="{FF2B5EF4-FFF2-40B4-BE49-F238E27FC236}">
                <a16:creationId xmlns:a16="http://schemas.microsoft.com/office/drawing/2014/main" id="{E723F917-A720-9633-5FF0-BA782AFA1711}"/>
              </a:ext>
            </a:extLst>
          </p:cNvPr>
          <p:cNvSpPr txBox="1"/>
          <p:nvPr/>
        </p:nvSpPr>
        <p:spPr>
          <a:xfrm>
            <a:off x="1440763" y="7107548"/>
            <a:ext cx="6903968" cy="716350"/>
          </a:xfrm>
          <a:prstGeom prst="rect">
            <a:avLst/>
          </a:prstGeom>
          <a:noFill/>
        </p:spPr>
        <p:txBody>
          <a:bodyPr wrap="square" lIns="91440" tIns="45720" rIns="91440" bIns="45720" rtlCol="0" anchor="t">
            <a:spAutoFit/>
          </a:bodyPr>
          <a:lstStyle/>
          <a:p>
            <a:pPr algn="ctr">
              <a:lnSpc>
                <a:spcPct val="200000"/>
              </a:lnSpc>
            </a:pPr>
            <a:r>
              <a:rPr lang="en-US" sz="2400" b="1" dirty="0">
                <a:solidFill>
                  <a:srgbClr val="0070C0"/>
                </a:solidFill>
                <a:latin typeface="Arial" panose="020B0604020202020204" pitchFamily="34" charset="0"/>
                <a:cs typeface="Arial" panose="020B0604020202020204" pitchFamily="34" charset="0"/>
              </a:rPr>
              <a:t>Determining supplier reliability beyond tier 1 </a:t>
            </a:r>
          </a:p>
        </p:txBody>
      </p:sp>
      <p:sp>
        <p:nvSpPr>
          <p:cNvPr id="55" name="TextBox 54">
            <a:extLst>
              <a:ext uri="{FF2B5EF4-FFF2-40B4-BE49-F238E27FC236}">
                <a16:creationId xmlns:a16="http://schemas.microsoft.com/office/drawing/2014/main" id="{9C7C140F-3DE0-2D21-705C-EA0A2CD09E05}"/>
              </a:ext>
            </a:extLst>
          </p:cNvPr>
          <p:cNvSpPr txBox="1"/>
          <p:nvPr/>
        </p:nvSpPr>
        <p:spPr>
          <a:xfrm>
            <a:off x="940328" y="8115079"/>
            <a:ext cx="7102625" cy="461665"/>
          </a:xfrm>
          <a:prstGeom prst="rect">
            <a:avLst/>
          </a:prstGeom>
          <a:noFill/>
        </p:spPr>
        <p:txBody>
          <a:bodyPr wrap="square" lIns="91440" tIns="45720" rIns="91440" bIns="45720" rtlCol="0" anchor="t">
            <a:spAutoFit/>
          </a:bodyPr>
          <a:lstStyle/>
          <a:p>
            <a:pPr algn="ctr"/>
            <a:r>
              <a:rPr lang="en-US" sz="2400" b="1" dirty="0">
                <a:solidFill>
                  <a:srgbClr val="0070C0"/>
                </a:solidFill>
                <a:latin typeface="Arial" panose="020B0604020202020204" pitchFamily="34" charset="0"/>
                <a:cs typeface="Arial" panose="020B0604020202020204" pitchFamily="34" charset="0"/>
              </a:rPr>
              <a:t>Evaluating company-supplier alignment</a:t>
            </a:r>
            <a:endParaRPr lang="en-US" dirty="0">
              <a:solidFill>
                <a:srgbClr val="0070C0"/>
              </a:solidFill>
            </a:endParaRPr>
          </a:p>
        </p:txBody>
      </p:sp>
      <p:pic>
        <p:nvPicPr>
          <p:cNvPr id="56" name="Graphic 25" descr="Open hand with plant with solid fill">
            <a:extLst>
              <a:ext uri="{FF2B5EF4-FFF2-40B4-BE49-F238E27FC236}">
                <a16:creationId xmlns:a16="http://schemas.microsoft.com/office/drawing/2014/main" id="{7FDA193F-615A-2672-916C-C9429F0AD0D5}"/>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1167481" y="15754719"/>
            <a:ext cx="1017957" cy="1017957"/>
          </a:xfrm>
          <a:prstGeom prst="rect">
            <a:avLst/>
          </a:prstGeom>
        </p:spPr>
      </p:pic>
      <p:sp>
        <p:nvSpPr>
          <p:cNvPr id="25" name="TextBox 24">
            <a:extLst>
              <a:ext uri="{FF2B5EF4-FFF2-40B4-BE49-F238E27FC236}">
                <a16:creationId xmlns:a16="http://schemas.microsoft.com/office/drawing/2014/main" id="{E1CBC25C-D619-FC39-EA44-DB637BBCBD44}"/>
              </a:ext>
            </a:extLst>
          </p:cNvPr>
          <p:cNvSpPr txBox="1"/>
          <p:nvPr/>
        </p:nvSpPr>
        <p:spPr>
          <a:xfrm>
            <a:off x="1203741" y="17466550"/>
            <a:ext cx="7521464" cy="1569660"/>
          </a:xfrm>
          <a:prstGeom prst="rect">
            <a:avLst/>
          </a:prstGeom>
          <a:noFill/>
        </p:spPr>
        <p:txBody>
          <a:bodyPr wrap="square" rtlCol="0">
            <a:spAutoFit/>
          </a:bodyPr>
          <a:lstStyle/>
          <a:p>
            <a:pPr algn="just"/>
            <a:r>
              <a:rPr lang="en-US" sz="2400" b="1" dirty="0">
                <a:solidFill>
                  <a:srgbClr val="0070C0"/>
                </a:solidFill>
                <a:latin typeface="Arial"/>
                <a:cs typeface="Arial"/>
              </a:rPr>
              <a:t>Improved Risk Identification </a:t>
            </a:r>
            <a:r>
              <a:rPr lang="en-US" sz="2400" dirty="0">
                <a:latin typeface="Arial"/>
                <a:cs typeface="Arial"/>
              </a:rPr>
              <a:t>by analyzing unstructured news articles to help companies take proactive measures to mitigate potential risks</a:t>
            </a:r>
            <a:endParaRPr lang="en-US" sz="2400" dirty="0">
              <a:solidFill>
                <a:srgbClr val="E46C0A"/>
              </a:solidFill>
              <a:latin typeface="Arial" panose="020B0604020202020204" pitchFamily="34" charset="0"/>
              <a:cs typeface="Arial" panose="020B0604020202020204" pitchFamily="34" charset="0"/>
            </a:endParaRPr>
          </a:p>
          <a:p>
            <a:endParaRPr lang="en-US" sz="2400" dirty="0"/>
          </a:p>
        </p:txBody>
      </p:sp>
      <p:sp>
        <p:nvSpPr>
          <p:cNvPr id="36" name="TextBox 35">
            <a:extLst>
              <a:ext uri="{FF2B5EF4-FFF2-40B4-BE49-F238E27FC236}">
                <a16:creationId xmlns:a16="http://schemas.microsoft.com/office/drawing/2014/main" id="{9830A631-E785-0F42-3BC7-1723A462875D}"/>
              </a:ext>
            </a:extLst>
          </p:cNvPr>
          <p:cNvSpPr txBox="1"/>
          <p:nvPr/>
        </p:nvSpPr>
        <p:spPr>
          <a:xfrm>
            <a:off x="1220527" y="19110470"/>
            <a:ext cx="7158707" cy="875461"/>
          </a:xfrm>
          <a:prstGeom prst="rect">
            <a:avLst/>
          </a:prstGeom>
          <a:noFill/>
        </p:spPr>
        <p:txBody>
          <a:bodyPr wrap="square" rtlCol="0">
            <a:spAutoFit/>
          </a:bodyPr>
          <a:lstStyle/>
          <a:p>
            <a:endParaRPr lang="en-US" dirty="0"/>
          </a:p>
        </p:txBody>
      </p:sp>
      <p:sp>
        <p:nvSpPr>
          <p:cNvPr id="37" name="TextBox 36">
            <a:extLst>
              <a:ext uri="{FF2B5EF4-FFF2-40B4-BE49-F238E27FC236}">
                <a16:creationId xmlns:a16="http://schemas.microsoft.com/office/drawing/2014/main" id="{D3BFABA1-6066-DB2B-8737-0DFE11955897}"/>
              </a:ext>
            </a:extLst>
          </p:cNvPr>
          <p:cNvSpPr txBox="1"/>
          <p:nvPr/>
        </p:nvSpPr>
        <p:spPr>
          <a:xfrm>
            <a:off x="1220527" y="20413070"/>
            <a:ext cx="7158707" cy="1569660"/>
          </a:xfrm>
          <a:prstGeom prst="rect">
            <a:avLst/>
          </a:prstGeom>
          <a:noFill/>
        </p:spPr>
        <p:txBody>
          <a:bodyPr wrap="square" rtlCol="0">
            <a:spAutoFit/>
          </a:bodyPr>
          <a:lstStyle/>
          <a:p>
            <a:pPr algn="just"/>
            <a:r>
              <a:rPr lang="en-US" sz="2400" b="1" dirty="0">
                <a:solidFill>
                  <a:srgbClr val="0070C0"/>
                </a:solidFill>
                <a:latin typeface="Arial"/>
                <a:cs typeface="Arial"/>
              </a:rPr>
              <a:t>Insight</a:t>
            </a:r>
            <a:r>
              <a:rPr lang="en-US" sz="2400" dirty="0">
                <a:latin typeface="Arial"/>
                <a:cs typeface="Arial"/>
              </a:rPr>
              <a:t> into the likely emissions produced along the supply chain, to </a:t>
            </a:r>
            <a:r>
              <a:rPr lang="en-US" sz="2400" b="1" dirty="0">
                <a:solidFill>
                  <a:srgbClr val="0070C0"/>
                </a:solidFill>
                <a:latin typeface="Arial"/>
                <a:cs typeface="Arial"/>
              </a:rPr>
              <a:t>guide</a:t>
            </a:r>
            <a:r>
              <a:rPr lang="en-US" sz="2400" dirty="0">
                <a:latin typeface="Arial"/>
                <a:cs typeface="Arial"/>
              </a:rPr>
              <a:t> supplier selection based on the company's environmental mission.</a:t>
            </a:r>
          </a:p>
          <a:p>
            <a:endParaRPr lang="en-US" sz="2400" dirty="0"/>
          </a:p>
        </p:txBody>
      </p:sp>
      <p:sp>
        <p:nvSpPr>
          <p:cNvPr id="38" name="TextBox 37">
            <a:extLst>
              <a:ext uri="{FF2B5EF4-FFF2-40B4-BE49-F238E27FC236}">
                <a16:creationId xmlns:a16="http://schemas.microsoft.com/office/drawing/2014/main" id="{10012E08-261C-4DC8-12A1-26AC0B046FB4}"/>
              </a:ext>
            </a:extLst>
          </p:cNvPr>
          <p:cNvSpPr txBox="1"/>
          <p:nvPr/>
        </p:nvSpPr>
        <p:spPr>
          <a:xfrm>
            <a:off x="1220527" y="18914266"/>
            <a:ext cx="7521464" cy="1200329"/>
          </a:xfrm>
          <a:prstGeom prst="rect">
            <a:avLst/>
          </a:prstGeom>
          <a:noFill/>
        </p:spPr>
        <p:txBody>
          <a:bodyPr wrap="square" rtlCol="0">
            <a:spAutoFit/>
          </a:bodyPr>
          <a:lstStyle/>
          <a:p>
            <a:pPr algn="just"/>
            <a:r>
              <a:rPr lang="en-US" sz="2400" b="1" dirty="0">
                <a:solidFill>
                  <a:srgbClr val="0070C0"/>
                </a:solidFill>
                <a:latin typeface="Arial"/>
                <a:cs typeface="Arial"/>
              </a:rPr>
              <a:t>Estimate</a:t>
            </a:r>
            <a:r>
              <a:rPr lang="en-US" sz="2400" dirty="0">
                <a:latin typeface="Arial"/>
                <a:cs typeface="Arial"/>
              </a:rPr>
              <a:t> costs of potential supply chain disruptions and provide a timeframe for the company to develop </a:t>
            </a:r>
            <a:r>
              <a:rPr lang="en-US" sz="2400" b="1" dirty="0">
                <a:solidFill>
                  <a:srgbClr val="0070C0"/>
                </a:solidFill>
                <a:latin typeface="Arial"/>
                <a:cs typeface="Arial"/>
              </a:rPr>
              <a:t>contingency plans</a:t>
            </a:r>
          </a:p>
        </p:txBody>
      </p:sp>
      <p:sp>
        <p:nvSpPr>
          <p:cNvPr id="63" name="TextBox 62">
            <a:extLst>
              <a:ext uri="{FF2B5EF4-FFF2-40B4-BE49-F238E27FC236}">
                <a16:creationId xmlns:a16="http://schemas.microsoft.com/office/drawing/2014/main" id="{A2D598FC-1ADF-1FCF-924D-7EF5AEDDB883}"/>
              </a:ext>
            </a:extLst>
          </p:cNvPr>
          <p:cNvSpPr txBox="1"/>
          <p:nvPr/>
        </p:nvSpPr>
        <p:spPr>
          <a:xfrm>
            <a:off x="26653216" y="12739163"/>
            <a:ext cx="196456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Times"/>
                <a:cs typeface="Times"/>
              </a:rPr>
              <a:t>118 Words</a:t>
            </a:r>
            <a:endParaRPr lang="en-US" b="1" dirty="0">
              <a:cs typeface="Times"/>
            </a:endParaRPr>
          </a:p>
        </p:txBody>
      </p:sp>
      <p:sp>
        <p:nvSpPr>
          <p:cNvPr id="129" name="TextBox 128">
            <a:extLst>
              <a:ext uri="{FF2B5EF4-FFF2-40B4-BE49-F238E27FC236}">
                <a16:creationId xmlns:a16="http://schemas.microsoft.com/office/drawing/2014/main" id="{C88A65A2-4F2A-504B-2743-920AF19B76ED}"/>
              </a:ext>
            </a:extLst>
          </p:cNvPr>
          <p:cNvSpPr txBox="1"/>
          <p:nvPr/>
        </p:nvSpPr>
        <p:spPr>
          <a:xfrm>
            <a:off x="26729043" y="13937105"/>
            <a:ext cx="196456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Times"/>
                <a:cs typeface="Times"/>
              </a:rPr>
              <a:t>90 Words</a:t>
            </a:r>
            <a:endParaRPr lang="en-US" b="1" dirty="0">
              <a:cs typeface="Times"/>
            </a:endParaRPr>
          </a:p>
        </p:txBody>
      </p:sp>
      <p:sp>
        <p:nvSpPr>
          <p:cNvPr id="131" name="TextBox 130">
            <a:extLst>
              <a:ext uri="{FF2B5EF4-FFF2-40B4-BE49-F238E27FC236}">
                <a16:creationId xmlns:a16="http://schemas.microsoft.com/office/drawing/2014/main" id="{455014B0-539F-4D46-7EA8-754A26289DF3}"/>
              </a:ext>
            </a:extLst>
          </p:cNvPr>
          <p:cNvSpPr txBox="1"/>
          <p:nvPr/>
        </p:nvSpPr>
        <p:spPr>
          <a:xfrm>
            <a:off x="22005709" y="12466542"/>
            <a:ext cx="222474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latin typeface="Arial" panose="020B0604020202020204" pitchFamily="34" charset="0"/>
                <a:cs typeface="Arial" panose="020B0604020202020204" pitchFamily="34" charset="0"/>
              </a:rPr>
              <a:t>Custom Data </a:t>
            </a:r>
          </a:p>
          <a:p>
            <a:pPr algn="ctr"/>
            <a:r>
              <a:rPr lang="en-US" sz="2400" b="1" dirty="0">
                <a:solidFill>
                  <a:srgbClr val="0070C0"/>
                </a:solidFill>
                <a:latin typeface="Arial" panose="020B0604020202020204" pitchFamily="34" charset="0"/>
                <a:cs typeface="Arial" panose="020B0604020202020204" pitchFamily="34" charset="0"/>
              </a:rPr>
              <a:t>Dictionary</a:t>
            </a:r>
          </a:p>
        </p:txBody>
      </p:sp>
      <p:sp>
        <p:nvSpPr>
          <p:cNvPr id="135" name="TextBox 134">
            <a:extLst>
              <a:ext uri="{FF2B5EF4-FFF2-40B4-BE49-F238E27FC236}">
                <a16:creationId xmlns:a16="http://schemas.microsoft.com/office/drawing/2014/main" id="{1F3B66D1-FD60-16D6-AA8D-EF401122E7AC}"/>
              </a:ext>
            </a:extLst>
          </p:cNvPr>
          <p:cNvSpPr txBox="1"/>
          <p:nvPr/>
        </p:nvSpPr>
        <p:spPr>
          <a:xfrm>
            <a:off x="22305477" y="15681843"/>
            <a:ext cx="1832372"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latin typeface="Arial" panose="020B0604020202020204" pitchFamily="34" charset="0"/>
                <a:cs typeface="Arial" panose="020B0604020202020204" pitchFamily="34" charset="0"/>
              </a:rPr>
              <a:t>Cosine</a:t>
            </a:r>
          </a:p>
          <a:p>
            <a:pPr algn="ctr"/>
            <a:r>
              <a:rPr lang="en-US" sz="2400" b="1" dirty="0">
                <a:solidFill>
                  <a:srgbClr val="0070C0"/>
                </a:solidFill>
                <a:latin typeface="Arial" panose="020B0604020202020204" pitchFamily="34" charset="0"/>
                <a:cs typeface="Arial" panose="020B0604020202020204" pitchFamily="34" charset="0"/>
              </a:rPr>
              <a:t>Similarity </a:t>
            </a:r>
          </a:p>
        </p:txBody>
      </p:sp>
      <p:pic>
        <p:nvPicPr>
          <p:cNvPr id="141" name="Graphic 55" descr="Document with solid fill">
            <a:extLst>
              <a:ext uri="{FF2B5EF4-FFF2-40B4-BE49-F238E27FC236}">
                <a16:creationId xmlns:a16="http://schemas.microsoft.com/office/drawing/2014/main" id="{80F32CF3-9DEE-E5AB-2E1A-190375E81355}"/>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25712584" y="13475074"/>
            <a:ext cx="752775" cy="801936"/>
          </a:xfrm>
          <a:prstGeom prst="rect">
            <a:avLst/>
          </a:prstGeom>
        </p:spPr>
      </p:pic>
      <p:sp>
        <p:nvSpPr>
          <p:cNvPr id="144" name="TextBox 143">
            <a:extLst>
              <a:ext uri="{FF2B5EF4-FFF2-40B4-BE49-F238E27FC236}">
                <a16:creationId xmlns:a16="http://schemas.microsoft.com/office/drawing/2014/main" id="{4E0D22E0-8044-33F4-BF27-002F0358F660}"/>
              </a:ext>
            </a:extLst>
          </p:cNvPr>
          <p:cNvSpPr txBox="1"/>
          <p:nvPr/>
        </p:nvSpPr>
        <p:spPr>
          <a:xfrm>
            <a:off x="25027894" y="15968417"/>
            <a:ext cx="8237509"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400" b="1" dirty="0">
                <a:solidFill>
                  <a:srgbClr val="002060"/>
                </a:solidFill>
                <a:latin typeface="Arial"/>
                <a:ea typeface="Söhne"/>
                <a:cs typeface="Söhne"/>
              </a:rPr>
              <a:t>Measure Textual Relationships</a:t>
            </a:r>
          </a:p>
          <a:p>
            <a:pPr algn="just"/>
            <a:endParaRPr lang="en-US" sz="2400" b="1" dirty="0">
              <a:solidFill>
                <a:srgbClr val="0070C0"/>
              </a:solidFill>
              <a:latin typeface="Arial"/>
              <a:ea typeface="Söhne"/>
              <a:cs typeface="Söhne"/>
            </a:endParaRPr>
          </a:p>
          <a:p>
            <a:pPr algn="just"/>
            <a:r>
              <a:rPr lang="en-US" sz="2400" dirty="0">
                <a:latin typeface="Arial"/>
                <a:ea typeface="Söhne"/>
                <a:cs typeface="Söhne"/>
              </a:rPr>
              <a:t>Efficiently compare text data with a data dictionary using </a:t>
            </a:r>
            <a:r>
              <a:rPr lang="en-US" sz="2400" b="1" dirty="0">
                <a:solidFill>
                  <a:srgbClr val="0070C0"/>
                </a:solidFill>
                <a:latin typeface="Arial"/>
                <a:ea typeface="Söhne"/>
                <a:cs typeface="Söhne"/>
              </a:rPr>
              <a:t>Cosine Similarity</a:t>
            </a:r>
            <a:r>
              <a:rPr lang="en-US" sz="2400" dirty="0">
                <a:latin typeface="Arial"/>
                <a:ea typeface="Söhne"/>
                <a:cs typeface="Söhne"/>
              </a:rPr>
              <a:t>. A score close to 1 indicates high similarity, ideal for uncovering connections, optimizing search results, and enhancing text mining</a:t>
            </a:r>
            <a:endParaRPr lang="en-US" sz="2400" dirty="0">
              <a:latin typeface="Arial"/>
              <a:cs typeface="Arial"/>
            </a:endParaRPr>
          </a:p>
        </p:txBody>
      </p:sp>
      <p:pic>
        <p:nvPicPr>
          <p:cNvPr id="146" name="Graphic 57" descr="Brain in head with solid fill">
            <a:extLst>
              <a:ext uri="{FF2B5EF4-FFF2-40B4-BE49-F238E27FC236}">
                <a16:creationId xmlns:a16="http://schemas.microsoft.com/office/drawing/2014/main" id="{DF0ECE48-02D3-73B6-519F-A1026C48C2A9}"/>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22286252" y="19379429"/>
            <a:ext cx="1808833" cy="1713002"/>
          </a:xfrm>
          <a:prstGeom prst="rect">
            <a:avLst/>
          </a:prstGeom>
        </p:spPr>
      </p:pic>
      <p:sp>
        <p:nvSpPr>
          <p:cNvPr id="151" name="TextBox 150">
            <a:extLst>
              <a:ext uri="{FF2B5EF4-FFF2-40B4-BE49-F238E27FC236}">
                <a16:creationId xmlns:a16="http://schemas.microsoft.com/office/drawing/2014/main" id="{72EA74B3-CD7B-2AF2-D3F3-98CDEA51153A}"/>
              </a:ext>
            </a:extLst>
          </p:cNvPr>
          <p:cNvSpPr txBox="1"/>
          <p:nvPr/>
        </p:nvSpPr>
        <p:spPr>
          <a:xfrm>
            <a:off x="24933193" y="18925145"/>
            <a:ext cx="8529075"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2060"/>
                </a:solidFill>
                <a:latin typeface="Arial" panose="020B0604020202020204" pitchFamily="34" charset="0"/>
                <a:cs typeface="Arial" panose="020B0604020202020204" pitchFamily="34" charset="0"/>
              </a:rPr>
              <a:t>Streamline Company-Supplier Matching</a:t>
            </a:r>
          </a:p>
          <a:p>
            <a:endParaRPr lang="en-US" sz="2400" b="1" dirty="0">
              <a:solidFill>
                <a:srgbClr val="0070C0"/>
              </a:solidFill>
              <a:latin typeface="Arial" panose="020B0604020202020204" pitchFamily="34" charset="0"/>
              <a:cs typeface="Arial" panose="020B0604020202020204" pitchFamily="34" charset="0"/>
            </a:endParaRPr>
          </a:p>
          <a:p>
            <a:r>
              <a:rPr lang="en-US" sz="2400" b="1" dirty="0">
                <a:solidFill>
                  <a:srgbClr val="0070C0"/>
                </a:solidFill>
                <a:latin typeface="Arial" panose="020B0604020202020204" pitchFamily="34" charset="0"/>
                <a:cs typeface="Arial" panose="020B0604020202020204" pitchFamily="34" charset="0"/>
              </a:rPr>
              <a:t>Fuzzy Lookup </a:t>
            </a:r>
            <a:r>
              <a:rPr lang="en-US" sz="2400" dirty="0">
                <a:latin typeface="Arial" panose="020B0604020202020204" pitchFamily="34" charset="0"/>
                <a:cs typeface="Arial" panose="020B0604020202020204" pitchFamily="34" charset="0"/>
              </a:rPr>
              <a:t>accurately matches companies to suppliers despite spelling variations, eliminating manual data matching, and saving time and effort for large datasets.</a:t>
            </a:r>
          </a:p>
        </p:txBody>
      </p:sp>
      <p:sp>
        <p:nvSpPr>
          <p:cNvPr id="152" name="TextBox 151">
            <a:extLst>
              <a:ext uri="{FF2B5EF4-FFF2-40B4-BE49-F238E27FC236}">
                <a16:creationId xmlns:a16="http://schemas.microsoft.com/office/drawing/2014/main" id="{7E02C6EA-B158-046A-73D0-90D3DD373563}"/>
              </a:ext>
            </a:extLst>
          </p:cNvPr>
          <p:cNvSpPr txBox="1"/>
          <p:nvPr/>
        </p:nvSpPr>
        <p:spPr>
          <a:xfrm>
            <a:off x="21582699" y="18516163"/>
            <a:ext cx="3029844"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latin typeface="Arial"/>
                <a:cs typeface="Times"/>
              </a:rPr>
              <a:t>Fuzzy String Matching</a:t>
            </a:r>
          </a:p>
        </p:txBody>
      </p:sp>
      <p:pic>
        <p:nvPicPr>
          <p:cNvPr id="156" name="Graphic 155" descr="Books on shelf with solid fill">
            <a:extLst>
              <a:ext uri="{FF2B5EF4-FFF2-40B4-BE49-F238E27FC236}">
                <a16:creationId xmlns:a16="http://schemas.microsoft.com/office/drawing/2014/main" id="{3019F3F0-F2B2-33A1-6E5E-40D8141C0442}"/>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22266096" y="13316705"/>
            <a:ext cx="1770709" cy="1770709"/>
          </a:xfrm>
          <a:prstGeom prst="rect">
            <a:avLst/>
          </a:prstGeom>
        </p:spPr>
      </p:pic>
      <p:sp>
        <p:nvSpPr>
          <p:cNvPr id="157" name="TextBox 156">
            <a:extLst>
              <a:ext uri="{FF2B5EF4-FFF2-40B4-BE49-F238E27FC236}">
                <a16:creationId xmlns:a16="http://schemas.microsoft.com/office/drawing/2014/main" id="{9BDA9BAB-F2B5-FC31-296A-25E7FCD05FAB}"/>
              </a:ext>
            </a:extLst>
          </p:cNvPr>
          <p:cNvSpPr txBox="1"/>
          <p:nvPr/>
        </p:nvSpPr>
        <p:spPr>
          <a:xfrm>
            <a:off x="26334893" y="12384493"/>
            <a:ext cx="222474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latin typeface="Arial" panose="020B0604020202020204" pitchFamily="34" charset="0"/>
                <a:cs typeface="Arial" panose="020B0604020202020204" pitchFamily="34" charset="0"/>
              </a:rPr>
              <a:t>Word2vec</a:t>
            </a:r>
          </a:p>
        </p:txBody>
      </p:sp>
      <p:sp>
        <p:nvSpPr>
          <p:cNvPr id="158" name="TextBox 157">
            <a:extLst>
              <a:ext uri="{FF2B5EF4-FFF2-40B4-BE49-F238E27FC236}">
                <a16:creationId xmlns:a16="http://schemas.microsoft.com/office/drawing/2014/main" id="{23CADC85-1F1F-8C27-5FA1-DB3E4CB615A5}"/>
              </a:ext>
            </a:extLst>
          </p:cNvPr>
          <p:cNvSpPr txBox="1"/>
          <p:nvPr/>
        </p:nvSpPr>
        <p:spPr>
          <a:xfrm>
            <a:off x="26406390" y="13571118"/>
            <a:ext cx="222474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latin typeface="Arial" panose="020B0604020202020204" pitchFamily="34" charset="0"/>
                <a:cs typeface="Arial" panose="020B0604020202020204" pitchFamily="34" charset="0"/>
              </a:rPr>
              <a:t>GloVe NLP</a:t>
            </a:r>
          </a:p>
        </p:txBody>
      </p:sp>
      <p:sp>
        <p:nvSpPr>
          <p:cNvPr id="159" name="TextBox 158">
            <a:extLst>
              <a:ext uri="{FF2B5EF4-FFF2-40B4-BE49-F238E27FC236}">
                <a16:creationId xmlns:a16="http://schemas.microsoft.com/office/drawing/2014/main" id="{C1ABB582-639B-7056-4D2B-2B0630733774}"/>
              </a:ext>
            </a:extLst>
          </p:cNvPr>
          <p:cNvSpPr txBox="1"/>
          <p:nvPr/>
        </p:nvSpPr>
        <p:spPr>
          <a:xfrm>
            <a:off x="26364322" y="14787933"/>
            <a:ext cx="222474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70C0"/>
                </a:solidFill>
                <a:latin typeface="Arial" panose="020B0604020202020204" pitchFamily="34" charset="0"/>
                <a:cs typeface="Arial" panose="020B0604020202020204" pitchFamily="34" charset="0"/>
              </a:rPr>
              <a:t>LDA Topic Modeling</a:t>
            </a:r>
          </a:p>
        </p:txBody>
      </p:sp>
      <p:pic>
        <p:nvPicPr>
          <p:cNvPr id="165" name="Graphic 164" descr="Plugged Unplugged with solid fill">
            <a:extLst>
              <a:ext uri="{FF2B5EF4-FFF2-40B4-BE49-F238E27FC236}">
                <a16:creationId xmlns:a16="http://schemas.microsoft.com/office/drawing/2014/main" id="{BB6B5119-EFA7-941C-9A5D-4359FF7B294A}"/>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22453338" y="16467933"/>
            <a:ext cx="1536651" cy="1536651"/>
          </a:xfrm>
          <a:prstGeom prst="rect">
            <a:avLst/>
          </a:prstGeom>
        </p:spPr>
      </p:pic>
      <p:pic>
        <p:nvPicPr>
          <p:cNvPr id="167" name="Graphic 166" descr="Abacus with solid fill">
            <a:extLst>
              <a:ext uri="{FF2B5EF4-FFF2-40B4-BE49-F238E27FC236}">
                <a16:creationId xmlns:a16="http://schemas.microsoft.com/office/drawing/2014/main" id="{124FB4A6-8F3F-8679-AE02-5407B2311029}"/>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25712584" y="12330227"/>
            <a:ext cx="774028" cy="774028"/>
          </a:xfrm>
          <a:prstGeom prst="rect">
            <a:avLst/>
          </a:prstGeom>
        </p:spPr>
      </p:pic>
      <p:pic>
        <p:nvPicPr>
          <p:cNvPr id="169" name="Graphic 168" descr="Network diagram with solid fill">
            <a:extLst>
              <a:ext uri="{FF2B5EF4-FFF2-40B4-BE49-F238E27FC236}">
                <a16:creationId xmlns:a16="http://schemas.microsoft.com/office/drawing/2014/main" id="{21299413-151D-4057-8F58-0C3F6CE52A63}"/>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25740600" y="14675043"/>
            <a:ext cx="914400" cy="914400"/>
          </a:xfrm>
          <a:prstGeom prst="rect">
            <a:avLst/>
          </a:prstGeom>
        </p:spPr>
      </p:pic>
      <p:cxnSp>
        <p:nvCxnSpPr>
          <p:cNvPr id="171" name="Straight Arrow Connector 170">
            <a:extLst>
              <a:ext uri="{FF2B5EF4-FFF2-40B4-BE49-F238E27FC236}">
                <a16:creationId xmlns:a16="http://schemas.microsoft.com/office/drawing/2014/main" id="{E7E08B1E-B78B-C133-C009-F3868565B40D}"/>
              </a:ext>
            </a:extLst>
          </p:cNvPr>
          <p:cNvCxnSpPr/>
          <p:nvPr/>
        </p:nvCxnSpPr>
        <p:spPr bwMode="auto">
          <a:xfrm flipV="1">
            <a:off x="23989989" y="12739163"/>
            <a:ext cx="1515934" cy="133267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3" name="Straight Arrow Connector 172">
            <a:extLst>
              <a:ext uri="{FF2B5EF4-FFF2-40B4-BE49-F238E27FC236}">
                <a16:creationId xmlns:a16="http://schemas.microsoft.com/office/drawing/2014/main" id="{3CE2B01E-5239-F746-3212-E896ECD436D1}"/>
              </a:ext>
            </a:extLst>
          </p:cNvPr>
          <p:cNvCxnSpPr/>
          <p:nvPr/>
        </p:nvCxnSpPr>
        <p:spPr bwMode="auto">
          <a:xfrm>
            <a:off x="24158676" y="14202059"/>
            <a:ext cx="1439659"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5" name="Straight Arrow Connector 174">
            <a:extLst>
              <a:ext uri="{FF2B5EF4-FFF2-40B4-BE49-F238E27FC236}">
                <a16:creationId xmlns:a16="http://schemas.microsoft.com/office/drawing/2014/main" id="{73CE499E-1CD1-1EE5-7710-82B6EC382875}"/>
              </a:ext>
            </a:extLst>
          </p:cNvPr>
          <p:cNvCxnSpPr/>
          <p:nvPr/>
        </p:nvCxnSpPr>
        <p:spPr bwMode="auto">
          <a:xfrm>
            <a:off x="23974898" y="14310768"/>
            <a:ext cx="1673798" cy="943943"/>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6" name="TextBox 175">
            <a:extLst>
              <a:ext uri="{FF2B5EF4-FFF2-40B4-BE49-F238E27FC236}">
                <a16:creationId xmlns:a16="http://schemas.microsoft.com/office/drawing/2014/main" id="{220ACB66-4113-ACAB-53A0-1989AA7FB55B}"/>
              </a:ext>
            </a:extLst>
          </p:cNvPr>
          <p:cNvSpPr txBox="1"/>
          <p:nvPr/>
        </p:nvSpPr>
        <p:spPr>
          <a:xfrm>
            <a:off x="28505479" y="12138998"/>
            <a:ext cx="5295449" cy="1200329"/>
          </a:xfrm>
          <a:prstGeom prst="rect">
            <a:avLst/>
          </a:prstGeom>
          <a:noFill/>
        </p:spPr>
        <p:txBody>
          <a:bodyPr wrap="square" rtlCol="0">
            <a:spAutoFit/>
          </a:bodyPr>
          <a:lstStyle/>
          <a:p>
            <a:r>
              <a:rPr lang="en-US" sz="2400" b="1" dirty="0">
                <a:solidFill>
                  <a:srgbClr val="002060"/>
                </a:solidFill>
                <a:latin typeface="Arial" panose="020B0604020202020204" pitchFamily="34" charset="0"/>
                <a:cs typeface="Arial" panose="020B0604020202020204" pitchFamily="34" charset="0"/>
              </a:rPr>
              <a:t>Neural Network </a:t>
            </a:r>
            <a:r>
              <a:rPr lang="en-US" sz="2400" dirty="0">
                <a:latin typeface="Arial" panose="020B0604020202020204" pitchFamily="34" charset="0"/>
                <a:cs typeface="Arial" panose="020B0604020202020204" pitchFamily="34" charset="0"/>
              </a:rPr>
              <a:t>to learn word associations from corpus of text to identify synonymous words</a:t>
            </a:r>
          </a:p>
        </p:txBody>
      </p:sp>
      <p:sp>
        <p:nvSpPr>
          <p:cNvPr id="177" name="TextBox 176">
            <a:extLst>
              <a:ext uri="{FF2B5EF4-FFF2-40B4-BE49-F238E27FC236}">
                <a16:creationId xmlns:a16="http://schemas.microsoft.com/office/drawing/2014/main" id="{5DC136EF-60C3-EB80-D89E-92EB4E947F74}"/>
              </a:ext>
            </a:extLst>
          </p:cNvPr>
          <p:cNvSpPr txBox="1"/>
          <p:nvPr/>
        </p:nvSpPr>
        <p:spPr>
          <a:xfrm>
            <a:off x="28505479" y="13442711"/>
            <a:ext cx="5295449" cy="1200329"/>
          </a:xfrm>
          <a:prstGeom prst="rect">
            <a:avLst/>
          </a:prstGeom>
          <a:noFill/>
        </p:spPr>
        <p:txBody>
          <a:bodyPr wrap="square" rtlCol="0">
            <a:spAutoFit/>
          </a:bodyPr>
          <a:lstStyle/>
          <a:p>
            <a:r>
              <a:rPr lang="en-US" sz="2400" b="1" dirty="0">
                <a:solidFill>
                  <a:srgbClr val="002060"/>
                </a:solidFill>
                <a:latin typeface="Arial" panose="020B0604020202020204" pitchFamily="34" charset="0"/>
                <a:cs typeface="Arial" panose="020B0604020202020204" pitchFamily="34" charset="0"/>
              </a:rPr>
              <a:t>Unsupervised learning algorithm </a:t>
            </a:r>
            <a:r>
              <a:rPr lang="en-US" sz="2400" dirty="0">
                <a:latin typeface="Arial" panose="020B0604020202020204" pitchFamily="34" charset="0"/>
                <a:cs typeface="Arial" panose="020B0604020202020204" pitchFamily="34" charset="0"/>
              </a:rPr>
              <a:t>for obtaining vector representations for words</a:t>
            </a:r>
          </a:p>
        </p:txBody>
      </p:sp>
      <p:sp>
        <p:nvSpPr>
          <p:cNvPr id="185" name="TextBox 184">
            <a:extLst>
              <a:ext uri="{FF2B5EF4-FFF2-40B4-BE49-F238E27FC236}">
                <a16:creationId xmlns:a16="http://schemas.microsoft.com/office/drawing/2014/main" id="{D1FF858A-942C-5BB2-CBD0-DCEE3D316AB9}"/>
              </a:ext>
            </a:extLst>
          </p:cNvPr>
          <p:cNvSpPr txBox="1"/>
          <p:nvPr/>
        </p:nvSpPr>
        <p:spPr>
          <a:xfrm>
            <a:off x="28505479" y="14785444"/>
            <a:ext cx="5295449" cy="830997"/>
          </a:xfrm>
          <a:prstGeom prst="rect">
            <a:avLst/>
          </a:prstGeom>
          <a:noFill/>
        </p:spPr>
        <p:txBody>
          <a:bodyPr wrap="square" rtlCol="0">
            <a:spAutoFit/>
          </a:bodyPr>
          <a:lstStyle/>
          <a:p>
            <a:r>
              <a:rPr lang="en-US" sz="2400" b="1" dirty="0">
                <a:solidFill>
                  <a:srgbClr val="002060"/>
                </a:solidFill>
                <a:latin typeface="Arial" panose="020B0604020202020204" pitchFamily="34" charset="0"/>
                <a:cs typeface="Arial" panose="020B0604020202020204" pitchFamily="34" charset="0"/>
              </a:rPr>
              <a:t>Text classification</a:t>
            </a:r>
            <a:r>
              <a:rPr lang="en-US" sz="2400" dirty="0">
                <a:solidFill>
                  <a:srgbClr val="002060"/>
                </a:solidFill>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of news articles to get sustainability topic</a:t>
            </a:r>
          </a:p>
        </p:txBody>
      </p:sp>
      <p:pic>
        <p:nvPicPr>
          <p:cNvPr id="11" name="Picture 10" descr="A picture containing timeline&#10;&#10;Description automatically generated">
            <a:extLst>
              <a:ext uri="{FF2B5EF4-FFF2-40B4-BE49-F238E27FC236}">
                <a16:creationId xmlns:a16="http://schemas.microsoft.com/office/drawing/2014/main" id="{50015BE8-0ED7-CA3D-590B-A8ADE5D271D3}"/>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21514323" y="4221685"/>
            <a:ext cx="12194070" cy="6500840"/>
          </a:xfrm>
          <a:prstGeom prst="rect">
            <a:avLst/>
          </a:prstGeom>
          <a:ln>
            <a:solidFill>
              <a:schemeClr val="tx1"/>
            </a:solidFill>
          </a:ln>
        </p:spPr>
      </p:pic>
      <p:pic>
        <p:nvPicPr>
          <p:cNvPr id="24" name="Picture 23" descr="Graphical user interface, application&#10;&#10;Description automatically generated">
            <a:extLst>
              <a:ext uri="{FF2B5EF4-FFF2-40B4-BE49-F238E27FC236}">
                <a16:creationId xmlns:a16="http://schemas.microsoft.com/office/drawing/2014/main" id="{FEC99392-F2CF-2650-8BCC-35C697011E1B}"/>
              </a:ext>
            </a:extLst>
          </p:cNvPr>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368118" y="17216606"/>
            <a:ext cx="10678648" cy="4141542"/>
          </a:xfrm>
          <a:prstGeom prst="rect">
            <a:avLst/>
          </a:prstGeom>
          <a:ln>
            <a:noFill/>
          </a:ln>
          <a:effectLst>
            <a:softEdge rad="112500"/>
          </a:effectLst>
        </p:spPr>
      </p:pic>
      <p:grpSp>
        <p:nvGrpSpPr>
          <p:cNvPr id="58" name="Group 57">
            <a:extLst>
              <a:ext uri="{FF2B5EF4-FFF2-40B4-BE49-F238E27FC236}">
                <a16:creationId xmlns:a16="http://schemas.microsoft.com/office/drawing/2014/main" id="{C7600F60-4061-21AB-9386-347CFB595923}"/>
              </a:ext>
            </a:extLst>
          </p:cNvPr>
          <p:cNvGrpSpPr/>
          <p:nvPr/>
        </p:nvGrpSpPr>
        <p:grpSpPr>
          <a:xfrm>
            <a:off x="253109" y="9443407"/>
            <a:ext cx="8566580" cy="3607259"/>
            <a:chOff x="34564270" y="8669882"/>
            <a:chExt cx="8566580" cy="3607259"/>
          </a:xfrm>
        </p:grpSpPr>
        <p:sp>
          <p:nvSpPr>
            <p:cNvPr id="59" name="TextBox 58">
              <a:extLst>
                <a:ext uri="{FF2B5EF4-FFF2-40B4-BE49-F238E27FC236}">
                  <a16:creationId xmlns:a16="http://schemas.microsoft.com/office/drawing/2014/main" id="{19DE00DD-5030-B82B-A0AB-B8D62FD3CC5B}"/>
                </a:ext>
              </a:extLst>
            </p:cNvPr>
            <p:cNvSpPr txBox="1"/>
            <p:nvPr/>
          </p:nvSpPr>
          <p:spPr>
            <a:xfrm>
              <a:off x="34739213" y="9472293"/>
              <a:ext cx="8391637" cy="20275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p>
          </p:txBody>
        </p:sp>
        <p:pic>
          <p:nvPicPr>
            <p:cNvPr id="132" name="Graphic 45" descr="Bank with solid fill">
              <a:extLst>
                <a:ext uri="{FF2B5EF4-FFF2-40B4-BE49-F238E27FC236}">
                  <a16:creationId xmlns:a16="http://schemas.microsoft.com/office/drawing/2014/main" id="{2FC2FDC3-C76D-5348-CC4D-8217881C3D95}"/>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0498625" y="8750596"/>
              <a:ext cx="973462" cy="973462"/>
            </a:xfrm>
            <a:prstGeom prst="rect">
              <a:avLst/>
            </a:prstGeom>
          </p:spPr>
        </p:pic>
        <p:pic>
          <p:nvPicPr>
            <p:cNvPr id="153" name="Graphic 152" descr="Bank with solid fill">
              <a:extLst>
                <a:ext uri="{FF2B5EF4-FFF2-40B4-BE49-F238E27FC236}">
                  <a16:creationId xmlns:a16="http://schemas.microsoft.com/office/drawing/2014/main" id="{F5B206C4-9376-40B8-D642-8F742DAF56E1}"/>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0482653" y="9791177"/>
              <a:ext cx="1005248" cy="973462"/>
            </a:xfrm>
            <a:prstGeom prst="rect">
              <a:avLst/>
            </a:prstGeom>
          </p:spPr>
        </p:pic>
        <p:pic>
          <p:nvPicPr>
            <p:cNvPr id="154" name="Graphic 134" descr="City with solid fill">
              <a:extLst>
                <a:ext uri="{FF2B5EF4-FFF2-40B4-BE49-F238E27FC236}">
                  <a16:creationId xmlns:a16="http://schemas.microsoft.com/office/drawing/2014/main" id="{27C104B6-3D91-6E73-D7DB-CD60933C6129}"/>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34994029" y="9603770"/>
              <a:ext cx="1513831" cy="1672764"/>
            </a:xfrm>
            <a:prstGeom prst="rect">
              <a:avLst/>
            </a:prstGeom>
          </p:spPr>
        </p:pic>
        <p:pic>
          <p:nvPicPr>
            <p:cNvPr id="155" name="Graphic 154" descr="Bank with solid fill">
              <a:extLst>
                <a:ext uri="{FF2B5EF4-FFF2-40B4-BE49-F238E27FC236}">
                  <a16:creationId xmlns:a16="http://schemas.microsoft.com/office/drawing/2014/main" id="{52D5716A-4DAF-ADEF-513A-D758B36197BB}"/>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38081873" y="10363630"/>
              <a:ext cx="1450259" cy="1545618"/>
            </a:xfrm>
            <a:prstGeom prst="rect">
              <a:avLst/>
            </a:prstGeom>
          </p:spPr>
        </p:pic>
        <p:pic>
          <p:nvPicPr>
            <p:cNvPr id="163" name="Graphic 162" descr="Bank with solid fill">
              <a:extLst>
                <a:ext uri="{FF2B5EF4-FFF2-40B4-BE49-F238E27FC236}">
                  <a16:creationId xmlns:a16="http://schemas.microsoft.com/office/drawing/2014/main" id="{A8D6A46B-C97E-C5A3-2C46-C56864C4784D}"/>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38058385" y="8669882"/>
              <a:ext cx="1450259" cy="1545618"/>
            </a:xfrm>
            <a:prstGeom prst="rect">
              <a:avLst/>
            </a:prstGeom>
          </p:spPr>
        </p:pic>
        <p:pic>
          <p:nvPicPr>
            <p:cNvPr id="166" name="Graphic 165" descr="Bank with solid fill">
              <a:extLst>
                <a:ext uri="{FF2B5EF4-FFF2-40B4-BE49-F238E27FC236}">
                  <a16:creationId xmlns:a16="http://schemas.microsoft.com/office/drawing/2014/main" id="{DFAFED57-23D3-4228-2E5C-B54C135D6712}"/>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0484455" y="10810003"/>
              <a:ext cx="1005248" cy="973462"/>
            </a:xfrm>
            <a:prstGeom prst="rect">
              <a:avLst/>
            </a:prstGeom>
          </p:spPr>
        </p:pic>
        <p:sp>
          <p:nvSpPr>
            <p:cNvPr id="168" name="TextBox 167">
              <a:extLst>
                <a:ext uri="{FF2B5EF4-FFF2-40B4-BE49-F238E27FC236}">
                  <a16:creationId xmlns:a16="http://schemas.microsoft.com/office/drawing/2014/main" id="{7BB1224C-E480-2409-2D78-52195539A754}"/>
                </a:ext>
              </a:extLst>
            </p:cNvPr>
            <p:cNvSpPr txBox="1"/>
            <p:nvPr/>
          </p:nvSpPr>
          <p:spPr>
            <a:xfrm>
              <a:off x="35034195" y="11176947"/>
              <a:ext cx="214558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1" dirty="0">
                  <a:latin typeface="Arial"/>
                  <a:cs typeface="Times"/>
                </a:rPr>
                <a:t>Business</a:t>
              </a:r>
              <a:endParaRPr lang="en-US" sz="2400" b="1" dirty="0">
                <a:latin typeface="Arial"/>
                <a:cs typeface="Arial"/>
              </a:endParaRPr>
            </a:p>
          </p:txBody>
        </p:sp>
        <p:sp>
          <p:nvSpPr>
            <p:cNvPr id="170" name="TextBox 169">
              <a:extLst>
                <a:ext uri="{FF2B5EF4-FFF2-40B4-BE49-F238E27FC236}">
                  <a16:creationId xmlns:a16="http://schemas.microsoft.com/office/drawing/2014/main" id="{E48876CA-D194-DDA4-9516-DDA460D14D03}"/>
                </a:ext>
              </a:extLst>
            </p:cNvPr>
            <p:cNvSpPr txBox="1"/>
            <p:nvPr/>
          </p:nvSpPr>
          <p:spPr>
            <a:xfrm>
              <a:off x="34564270" y="9087444"/>
              <a:ext cx="419581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rgbClr val="0070C0"/>
                  </a:solidFill>
                  <a:latin typeface="Times"/>
                  <a:cs typeface="Times"/>
                </a:rPr>
                <a:t>N-Tier Supply chain</a:t>
              </a:r>
              <a:endParaRPr lang="en-US" b="1" dirty="0">
                <a:solidFill>
                  <a:srgbClr val="0070C0"/>
                </a:solidFill>
                <a:cs typeface="Times"/>
              </a:endParaRPr>
            </a:p>
          </p:txBody>
        </p:sp>
        <p:sp>
          <p:nvSpPr>
            <p:cNvPr id="172" name="TextBox 171">
              <a:extLst>
                <a:ext uri="{FF2B5EF4-FFF2-40B4-BE49-F238E27FC236}">
                  <a16:creationId xmlns:a16="http://schemas.microsoft.com/office/drawing/2014/main" id="{B8148201-B11B-AFA9-53E8-6A9295258773}"/>
                </a:ext>
              </a:extLst>
            </p:cNvPr>
            <p:cNvSpPr txBox="1"/>
            <p:nvPr/>
          </p:nvSpPr>
          <p:spPr>
            <a:xfrm>
              <a:off x="38295208" y="11819449"/>
              <a:ext cx="1070376" cy="4576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panose="020B0604020202020204" pitchFamily="34" charset="0"/>
                  <a:cs typeface="Arial" panose="020B0604020202020204" pitchFamily="34" charset="0"/>
                </a:rPr>
                <a:t>Tier 1</a:t>
              </a:r>
            </a:p>
          </p:txBody>
        </p:sp>
        <p:pic>
          <p:nvPicPr>
            <p:cNvPr id="174" name="Graphic 173" descr="Bank with solid fill">
              <a:extLst>
                <a:ext uri="{FF2B5EF4-FFF2-40B4-BE49-F238E27FC236}">
                  <a16:creationId xmlns:a16="http://schemas.microsoft.com/office/drawing/2014/main" id="{40C984C8-ED49-43C4-5495-916929B9852B}"/>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2255659" y="10378749"/>
              <a:ext cx="629396" cy="609495"/>
            </a:xfrm>
            <a:prstGeom prst="rect">
              <a:avLst/>
            </a:prstGeom>
          </p:spPr>
        </p:pic>
        <p:pic>
          <p:nvPicPr>
            <p:cNvPr id="179" name="Graphic 178" descr="Bank with solid fill">
              <a:extLst>
                <a:ext uri="{FF2B5EF4-FFF2-40B4-BE49-F238E27FC236}">
                  <a16:creationId xmlns:a16="http://schemas.microsoft.com/office/drawing/2014/main" id="{FE91D756-4B9A-11DE-410E-AD4CDAD0C5DA}"/>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2234365" y="8748912"/>
              <a:ext cx="629396" cy="609495"/>
            </a:xfrm>
            <a:prstGeom prst="rect">
              <a:avLst/>
            </a:prstGeom>
          </p:spPr>
        </p:pic>
        <p:pic>
          <p:nvPicPr>
            <p:cNvPr id="187" name="Graphic 186" descr="Bank with solid fill">
              <a:extLst>
                <a:ext uri="{FF2B5EF4-FFF2-40B4-BE49-F238E27FC236}">
                  <a16:creationId xmlns:a16="http://schemas.microsoft.com/office/drawing/2014/main" id="{E83B1304-4020-69AA-691C-65DA44B8C3D2}"/>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2234365" y="9587709"/>
              <a:ext cx="629396" cy="609495"/>
            </a:xfrm>
            <a:prstGeom prst="rect">
              <a:avLst/>
            </a:prstGeom>
          </p:spPr>
        </p:pic>
        <p:pic>
          <p:nvPicPr>
            <p:cNvPr id="191" name="Graphic 190" descr="Bank with solid fill">
              <a:extLst>
                <a:ext uri="{FF2B5EF4-FFF2-40B4-BE49-F238E27FC236}">
                  <a16:creationId xmlns:a16="http://schemas.microsoft.com/office/drawing/2014/main" id="{4EDFBF4F-3614-6375-9967-112CF2CACFD3}"/>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42234816" y="11114772"/>
              <a:ext cx="629396" cy="609495"/>
            </a:xfrm>
            <a:prstGeom prst="rect">
              <a:avLst/>
            </a:prstGeom>
          </p:spPr>
        </p:pic>
        <p:sp>
          <p:nvSpPr>
            <p:cNvPr id="195" name="TextBox 194">
              <a:extLst>
                <a:ext uri="{FF2B5EF4-FFF2-40B4-BE49-F238E27FC236}">
                  <a16:creationId xmlns:a16="http://schemas.microsoft.com/office/drawing/2014/main" id="{2607F93B-A261-5D6D-AAB1-093AC0934CB5}"/>
                </a:ext>
              </a:extLst>
            </p:cNvPr>
            <p:cNvSpPr txBox="1"/>
            <p:nvPr/>
          </p:nvSpPr>
          <p:spPr>
            <a:xfrm>
              <a:off x="40401231" y="11819449"/>
              <a:ext cx="1070376" cy="4576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panose="020B0604020202020204" pitchFamily="34" charset="0"/>
                  <a:cs typeface="Arial" panose="020B0604020202020204" pitchFamily="34" charset="0"/>
                </a:rPr>
                <a:t>Tier 2</a:t>
              </a:r>
            </a:p>
          </p:txBody>
        </p:sp>
        <p:sp>
          <p:nvSpPr>
            <p:cNvPr id="197" name="TextBox 196">
              <a:extLst>
                <a:ext uri="{FF2B5EF4-FFF2-40B4-BE49-F238E27FC236}">
                  <a16:creationId xmlns:a16="http://schemas.microsoft.com/office/drawing/2014/main" id="{EE959C3E-5E59-77D7-776C-0AB8F40CC786}"/>
                </a:ext>
              </a:extLst>
            </p:cNvPr>
            <p:cNvSpPr txBox="1"/>
            <p:nvPr/>
          </p:nvSpPr>
          <p:spPr>
            <a:xfrm>
              <a:off x="42004239" y="11819449"/>
              <a:ext cx="1070376" cy="4576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Arial" panose="020B0604020202020204" pitchFamily="34" charset="0"/>
                  <a:cs typeface="Arial" panose="020B0604020202020204" pitchFamily="34" charset="0"/>
                </a:rPr>
                <a:t>Tier 3</a:t>
              </a:r>
            </a:p>
          </p:txBody>
        </p:sp>
        <p:cxnSp>
          <p:nvCxnSpPr>
            <p:cNvPr id="199" name="Straight Arrow Connector 198">
              <a:extLst>
                <a:ext uri="{FF2B5EF4-FFF2-40B4-BE49-F238E27FC236}">
                  <a16:creationId xmlns:a16="http://schemas.microsoft.com/office/drawing/2014/main" id="{97F6F4F9-F003-6E14-7D76-2D0CBE217FFC}"/>
                </a:ext>
              </a:extLst>
            </p:cNvPr>
            <p:cNvCxnSpPr>
              <a:cxnSpLocks/>
              <a:stCxn id="154" idx="3"/>
            </p:cNvCxnSpPr>
            <p:nvPr/>
          </p:nvCxnSpPr>
          <p:spPr bwMode="auto">
            <a:xfrm flipV="1">
              <a:off x="36507860" y="9584687"/>
              <a:ext cx="1550525" cy="85546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0" name="Straight Arrow Connector 199">
              <a:extLst>
                <a:ext uri="{FF2B5EF4-FFF2-40B4-BE49-F238E27FC236}">
                  <a16:creationId xmlns:a16="http://schemas.microsoft.com/office/drawing/2014/main" id="{5DA1CD7B-1650-90B2-96C2-80A0794118E4}"/>
                </a:ext>
              </a:extLst>
            </p:cNvPr>
            <p:cNvCxnSpPr>
              <a:cxnSpLocks/>
              <a:stCxn id="154" idx="3"/>
            </p:cNvCxnSpPr>
            <p:nvPr/>
          </p:nvCxnSpPr>
          <p:spPr bwMode="auto">
            <a:xfrm>
              <a:off x="36507860" y="10440152"/>
              <a:ext cx="1550525" cy="74915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1" name="Straight Arrow Connector 200">
              <a:extLst>
                <a:ext uri="{FF2B5EF4-FFF2-40B4-BE49-F238E27FC236}">
                  <a16:creationId xmlns:a16="http://schemas.microsoft.com/office/drawing/2014/main" id="{BEA40239-968A-D071-F32B-CF92E4BA6A33}"/>
                </a:ext>
              </a:extLst>
            </p:cNvPr>
            <p:cNvCxnSpPr>
              <a:cxnSpLocks/>
              <a:endCxn id="132" idx="1"/>
            </p:cNvCxnSpPr>
            <p:nvPr/>
          </p:nvCxnSpPr>
          <p:spPr bwMode="auto">
            <a:xfrm flipV="1">
              <a:off x="39607806" y="9237327"/>
              <a:ext cx="890819" cy="34736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2" name="Straight Arrow Connector 201">
              <a:extLst>
                <a:ext uri="{FF2B5EF4-FFF2-40B4-BE49-F238E27FC236}">
                  <a16:creationId xmlns:a16="http://schemas.microsoft.com/office/drawing/2014/main" id="{AF57BABF-62F0-94C1-1B54-BC09310882D1}"/>
                </a:ext>
              </a:extLst>
            </p:cNvPr>
            <p:cNvCxnSpPr>
              <a:stCxn id="155" idx="3"/>
            </p:cNvCxnSpPr>
            <p:nvPr/>
          </p:nvCxnSpPr>
          <p:spPr bwMode="auto">
            <a:xfrm flipV="1">
              <a:off x="39532132" y="10375727"/>
              <a:ext cx="927375" cy="76071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3" name="Straight Arrow Connector 202">
              <a:extLst>
                <a:ext uri="{FF2B5EF4-FFF2-40B4-BE49-F238E27FC236}">
                  <a16:creationId xmlns:a16="http://schemas.microsoft.com/office/drawing/2014/main" id="{8BBEB558-2FEF-9913-9F17-E7C1A1B25049}"/>
                </a:ext>
              </a:extLst>
            </p:cNvPr>
            <p:cNvCxnSpPr>
              <a:cxnSpLocks/>
            </p:cNvCxnSpPr>
            <p:nvPr/>
          </p:nvCxnSpPr>
          <p:spPr bwMode="auto">
            <a:xfrm>
              <a:off x="39539322" y="11132607"/>
              <a:ext cx="1018783" cy="36389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 name="Straight Arrow Connector 203">
              <a:extLst>
                <a:ext uri="{FF2B5EF4-FFF2-40B4-BE49-F238E27FC236}">
                  <a16:creationId xmlns:a16="http://schemas.microsoft.com/office/drawing/2014/main" id="{D3FAD4FF-3A5F-3139-F670-96E3599450B3}"/>
                </a:ext>
              </a:extLst>
            </p:cNvPr>
            <p:cNvCxnSpPr>
              <a:cxnSpLocks/>
              <a:endCxn id="153" idx="1"/>
            </p:cNvCxnSpPr>
            <p:nvPr/>
          </p:nvCxnSpPr>
          <p:spPr bwMode="auto">
            <a:xfrm>
              <a:off x="39539322" y="9584687"/>
              <a:ext cx="943331" cy="69322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5" name="Straight Arrow Connector 204">
              <a:extLst>
                <a:ext uri="{FF2B5EF4-FFF2-40B4-BE49-F238E27FC236}">
                  <a16:creationId xmlns:a16="http://schemas.microsoft.com/office/drawing/2014/main" id="{33A65569-D336-4E4F-7B30-18FF4208C965}"/>
                </a:ext>
              </a:extLst>
            </p:cNvPr>
            <p:cNvCxnSpPr>
              <a:cxnSpLocks/>
              <a:stCxn id="132" idx="3"/>
              <a:endCxn id="179" idx="1"/>
            </p:cNvCxnSpPr>
            <p:nvPr/>
          </p:nvCxnSpPr>
          <p:spPr bwMode="auto">
            <a:xfrm flipV="1">
              <a:off x="41472087" y="9053660"/>
              <a:ext cx="762278" cy="18366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7" name="Straight Arrow Connector 206">
              <a:extLst>
                <a:ext uri="{FF2B5EF4-FFF2-40B4-BE49-F238E27FC236}">
                  <a16:creationId xmlns:a16="http://schemas.microsoft.com/office/drawing/2014/main" id="{F8AB30E4-086C-9C43-429C-70722C293948}"/>
                </a:ext>
              </a:extLst>
            </p:cNvPr>
            <p:cNvCxnSpPr>
              <a:cxnSpLocks/>
              <a:endCxn id="187" idx="1"/>
            </p:cNvCxnSpPr>
            <p:nvPr/>
          </p:nvCxnSpPr>
          <p:spPr bwMode="auto">
            <a:xfrm>
              <a:off x="41560457" y="9253782"/>
              <a:ext cx="673908" cy="63867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8" name="Straight Arrow Connector 207">
              <a:extLst>
                <a:ext uri="{FF2B5EF4-FFF2-40B4-BE49-F238E27FC236}">
                  <a16:creationId xmlns:a16="http://schemas.microsoft.com/office/drawing/2014/main" id="{A636E984-79C3-B5E9-284D-F9E4379A3F45}"/>
                </a:ext>
              </a:extLst>
            </p:cNvPr>
            <p:cNvCxnSpPr>
              <a:cxnSpLocks/>
              <a:endCxn id="174" idx="1"/>
            </p:cNvCxnSpPr>
            <p:nvPr/>
          </p:nvCxnSpPr>
          <p:spPr bwMode="auto">
            <a:xfrm>
              <a:off x="41560457" y="10320710"/>
              <a:ext cx="695202" cy="36278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Arrow Connector 208">
              <a:extLst>
                <a:ext uri="{FF2B5EF4-FFF2-40B4-BE49-F238E27FC236}">
                  <a16:creationId xmlns:a16="http://schemas.microsoft.com/office/drawing/2014/main" id="{647190B2-A120-11CB-7046-99F575315E57}"/>
                </a:ext>
              </a:extLst>
            </p:cNvPr>
            <p:cNvCxnSpPr>
              <a:cxnSpLocks/>
              <a:endCxn id="191" idx="1"/>
            </p:cNvCxnSpPr>
            <p:nvPr/>
          </p:nvCxnSpPr>
          <p:spPr bwMode="auto">
            <a:xfrm>
              <a:off x="41603683" y="10354457"/>
              <a:ext cx="631133" cy="1065063"/>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1" name="Straight Arrow Connector 210">
              <a:extLst>
                <a:ext uri="{FF2B5EF4-FFF2-40B4-BE49-F238E27FC236}">
                  <a16:creationId xmlns:a16="http://schemas.microsoft.com/office/drawing/2014/main" id="{39464F55-7EBC-0E7D-F2E0-AB0B057C7FB4}"/>
                </a:ext>
              </a:extLst>
            </p:cNvPr>
            <p:cNvCxnSpPr>
              <a:cxnSpLocks/>
              <a:stCxn id="166" idx="3"/>
              <a:endCxn id="174" idx="1"/>
            </p:cNvCxnSpPr>
            <p:nvPr/>
          </p:nvCxnSpPr>
          <p:spPr bwMode="auto">
            <a:xfrm flipV="1">
              <a:off x="41489703" y="10683497"/>
              <a:ext cx="765956" cy="61323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215" name="Graphic 214" descr="Badge 1 with solid fill">
            <a:extLst>
              <a:ext uri="{FF2B5EF4-FFF2-40B4-BE49-F238E27FC236}">
                <a16:creationId xmlns:a16="http://schemas.microsoft.com/office/drawing/2014/main" id="{AC9C04C3-4BA0-458C-E40D-12A33D6E05B7}"/>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659574" y="7357685"/>
            <a:ext cx="523220" cy="523220"/>
          </a:xfrm>
          <a:prstGeom prst="rect">
            <a:avLst/>
          </a:prstGeom>
        </p:spPr>
      </p:pic>
      <p:pic>
        <p:nvPicPr>
          <p:cNvPr id="219" name="Graphic 218" descr="Badge with solid fill">
            <a:extLst>
              <a:ext uri="{FF2B5EF4-FFF2-40B4-BE49-F238E27FC236}">
                <a16:creationId xmlns:a16="http://schemas.microsoft.com/office/drawing/2014/main" id="{4A116EFB-9CDC-F0FE-40DD-31737337F4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647390" y="8101317"/>
            <a:ext cx="541029" cy="541029"/>
          </a:xfrm>
          <a:prstGeom prst="rect">
            <a:avLst/>
          </a:prstGeom>
        </p:spPr>
      </p:pic>
      <p:pic>
        <p:nvPicPr>
          <p:cNvPr id="223" name="Graphic 222" descr="Badge 3 with solid fill">
            <a:extLst>
              <a:ext uri="{FF2B5EF4-FFF2-40B4-BE49-F238E27FC236}">
                <a16:creationId xmlns:a16="http://schemas.microsoft.com/office/drawing/2014/main" id="{637520CF-4C7C-5467-EFA9-71F92443E977}"/>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657109" y="8802122"/>
            <a:ext cx="523220" cy="523220"/>
          </a:xfrm>
          <a:prstGeom prst="rect">
            <a:avLst/>
          </a:prstGeom>
        </p:spPr>
      </p:pic>
      <p:sp>
        <p:nvSpPr>
          <p:cNvPr id="224" name="TextBox 223">
            <a:extLst>
              <a:ext uri="{FF2B5EF4-FFF2-40B4-BE49-F238E27FC236}">
                <a16:creationId xmlns:a16="http://schemas.microsoft.com/office/drawing/2014/main" id="{E0A84878-A301-2D71-1815-E01704B7F39B}"/>
              </a:ext>
            </a:extLst>
          </p:cNvPr>
          <p:cNvSpPr txBox="1"/>
          <p:nvPr/>
        </p:nvSpPr>
        <p:spPr>
          <a:xfrm>
            <a:off x="30043" y="13317189"/>
            <a:ext cx="4475995" cy="830997"/>
          </a:xfrm>
          <a:prstGeom prst="rect">
            <a:avLst/>
          </a:prstGeom>
          <a:noFill/>
        </p:spPr>
        <p:txBody>
          <a:bodyPr wrap="square" rtlCol="0">
            <a:spAutoFit/>
          </a:bodyPr>
          <a:lstStyle/>
          <a:p>
            <a:r>
              <a:rPr lang="en-US" sz="2400" b="1" dirty="0">
                <a:solidFill>
                  <a:srgbClr val="0070C0"/>
                </a:solidFill>
                <a:latin typeface="Arial" panose="020B0604020202020204" pitchFamily="34" charset="0"/>
                <a:cs typeface="Arial" panose="020B0604020202020204" pitchFamily="34" charset="0"/>
              </a:rPr>
              <a:t>Revolutionize Supply Chains: Smarter, Greener, Resilient</a:t>
            </a:r>
          </a:p>
        </p:txBody>
      </p:sp>
      <p:sp>
        <p:nvSpPr>
          <p:cNvPr id="227" name="TextBox 226">
            <a:extLst>
              <a:ext uri="{FF2B5EF4-FFF2-40B4-BE49-F238E27FC236}">
                <a16:creationId xmlns:a16="http://schemas.microsoft.com/office/drawing/2014/main" id="{96F0C447-07BF-0C51-FAD0-2F2F9EEEA7C0}"/>
              </a:ext>
            </a:extLst>
          </p:cNvPr>
          <p:cNvSpPr txBox="1"/>
          <p:nvPr/>
        </p:nvSpPr>
        <p:spPr>
          <a:xfrm>
            <a:off x="99276" y="14209965"/>
            <a:ext cx="4475994" cy="1569660"/>
          </a:xfrm>
          <a:prstGeom prst="rect">
            <a:avLst/>
          </a:prstGeom>
          <a:noFill/>
        </p:spPr>
        <p:txBody>
          <a:bodyPr wrap="square" rtlCol="0">
            <a:spAutoFit/>
          </a:bodyPr>
          <a:lstStyle/>
          <a:p>
            <a:r>
              <a:rPr lang="en-US" sz="2400" b="0" i="0" dirty="0">
                <a:effectLst/>
                <a:latin typeface="Arial" panose="020B0604020202020204" pitchFamily="34" charset="0"/>
                <a:cs typeface="Arial" panose="020B0604020202020204" pitchFamily="34" charset="0"/>
              </a:rPr>
              <a:t>Harness NLP for data-driven supplier selection, enhanced sustainability, and resilient supply networks</a:t>
            </a:r>
            <a:endParaRPr lang="en-US" sz="2400" dirty="0">
              <a:latin typeface="Arial" panose="020B0604020202020204" pitchFamily="34" charset="0"/>
              <a:cs typeface="Arial" panose="020B0604020202020204" pitchFamily="34" charset="0"/>
            </a:endParaRPr>
          </a:p>
        </p:txBody>
      </p:sp>
      <p:sp>
        <p:nvSpPr>
          <p:cNvPr id="230" name="TextBox 229">
            <a:extLst>
              <a:ext uri="{FF2B5EF4-FFF2-40B4-BE49-F238E27FC236}">
                <a16:creationId xmlns:a16="http://schemas.microsoft.com/office/drawing/2014/main" id="{FB66BAA8-4C8C-8819-2C91-97A9380F7CC7}"/>
              </a:ext>
            </a:extLst>
          </p:cNvPr>
          <p:cNvSpPr txBox="1"/>
          <p:nvPr/>
        </p:nvSpPr>
        <p:spPr>
          <a:xfrm>
            <a:off x="6824437" y="13374949"/>
            <a:ext cx="4475995" cy="461665"/>
          </a:xfrm>
          <a:prstGeom prst="rect">
            <a:avLst/>
          </a:prstGeom>
          <a:noFill/>
        </p:spPr>
        <p:txBody>
          <a:bodyPr wrap="square" rtlCol="0">
            <a:spAutoFit/>
          </a:bodyPr>
          <a:lstStyle/>
          <a:p>
            <a:r>
              <a:rPr lang="en-US" sz="2400" b="1" dirty="0">
                <a:solidFill>
                  <a:srgbClr val="0070C0"/>
                </a:solidFill>
                <a:latin typeface="Arial" panose="020B0604020202020204" pitchFamily="34" charset="0"/>
                <a:cs typeface="Arial" panose="020B0604020202020204" pitchFamily="34" charset="0"/>
              </a:rPr>
              <a:t>ESG Scoring</a:t>
            </a:r>
          </a:p>
        </p:txBody>
      </p:sp>
      <p:sp>
        <p:nvSpPr>
          <p:cNvPr id="231" name="TextBox 230">
            <a:extLst>
              <a:ext uri="{FF2B5EF4-FFF2-40B4-BE49-F238E27FC236}">
                <a16:creationId xmlns:a16="http://schemas.microsoft.com/office/drawing/2014/main" id="{6F11D8A1-912E-AD10-3026-218A3C3294A7}"/>
              </a:ext>
            </a:extLst>
          </p:cNvPr>
          <p:cNvSpPr txBox="1"/>
          <p:nvPr/>
        </p:nvSpPr>
        <p:spPr>
          <a:xfrm>
            <a:off x="4125554" y="14209559"/>
            <a:ext cx="4806253" cy="1569660"/>
          </a:xfrm>
          <a:prstGeom prst="rect">
            <a:avLst/>
          </a:prstGeom>
          <a:noFill/>
        </p:spPr>
        <p:txBody>
          <a:bodyPr wrap="square" rtlCol="0">
            <a:spAutoFit/>
          </a:bodyPr>
          <a:lstStyle/>
          <a:p>
            <a:pPr algn="r"/>
            <a:r>
              <a:rPr lang="en-US" sz="2400" dirty="0">
                <a:latin typeface="Arial" panose="020B0604020202020204" pitchFamily="34" charset="0"/>
                <a:cs typeface="Arial" panose="020B0604020202020204" pitchFamily="34" charset="0"/>
              </a:rPr>
              <a:t>Analyze supplier articles to determine ESG scores, enhance transparency, and meet diverse supply chain needs</a:t>
            </a:r>
          </a:p>
        </p:txBody>
      </p:sp>
      <p:pic>
        <p:nvPicPr>
          <p:cNvPr id="235" name="Picture 234" descr="Diagram&#10;&#10;Description automatically generated">
            <a:extLst>
              <a:ext uri="{FF2B5EF4-FFF2-40B4-BE49-F238E27FC236}">
                <a16:creationId xmlns:a16="http://schemas.microsoft.com/office/drawing/2014/main" id="{8A98F7A3-90F6-35FF-15B4-F6381D2ECABB}"/>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4123008" y="4749113"/>
            <a:ext cx="9574116" cy="2682894"/>
          </a:xfrm>
          <a:prstGeom prst="rect">
            <a:avLst/>
          </a:prstGeom>
        </p:spPr>
      </p:pic>
      <p:sp>
        <p:nvSpPr>
          <p:cNvPr id="236" name="TextBox 235">
            <a:extLst>
              <a:ext uri="{FF2B5EF4-FFF2-40B4-BE49-F238E27FC236}">
                <a16:creationId xmlns:a16="http://schemas.microsoft.com/office/drawing/2014/main" id="{00E9B3B3-158F-E732-A13E-5EB15C5F9539}"/>
              </a:ext>
            </a:extLst>
          </p:cNvPr>
          <p:cNvSpPr txBox="1"/>
          <p:nvPr/>
        </p:nvSpPr>
        <p:spPr>
          <a:xfrm>
            <a:off x="34685434" y="4006545"/>
            <a:ext cx="9205766" cy="461665"/>
          </a:xfrm>
          <a:prstGeom prst="rect">
            <a:avLst/>
          </a:prstGeom>
          <a:noFill/>
        </p:spPr>
        <p:txBody>
          <a:bodyPr wrap="square" lIns="91440" tIns="45720" rIns="91440" bIns="45720" anchor="t">
            <a:spAutoFit/>
          </a:bodyPr>
          <a:lstStyle/>
          <a:p>
            <a:pPr algn="ctr"/>
            <a:r>
              <a:rPr lang="en-US" sz="2400" b="1" i="0" dirty="0">
                <a:solidFill>
                  <a:srgbClr val="0070C0"/>
                </a:solidFill>
                <a:effectLst/>
                <a:latin typeface="Arial" panose="020B0604020202020204" pitchFamily="34" charset="0"/>
                <a:cs typeface="Arial" panose="020B0604020202020204" pitchFamily="34" charset="0"/>
              </a:rPr>
              <a:t>Cosine Similarity Theme Classification</a:t>
            </a:r>
            <a:endParaRPr lang="en-US" sz="2400" b="1" spc="10"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0724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BBE5E52D-EB9D-4B72-A928-24760AE9C86A}">
  <ds:schemaRefs>
    <ds:schemaRef ds:uri="http://schemas.microsoft.com/office/2006/metadata/properties"/>
    <ds:schemaRef ds:uri="b1755f8e-5024-43d4-9f4e-f0720ef5cbea"/>
    <ds:schemaRef ds:uri="http://purl.org/dc/term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b60307e8-227d-4226-bf3f-3f3e3f614599"/>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195</TotalTime>
  <Words>588</Words>
  <Application>Microsoft Office PowerPoint</Application>
  <PresentationFormat>Custom</PresentationFormat>
  <Paragraphs>74</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Times</vt:lpstr>
      <vt:lpstr>Wingding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Gupta, Shaanu</cp:lastModifiedBy>
  <cp:revision>462</cp:revision>
  <cp:lastPrinted>2001-08-01T02:48:55Z</cp:lastPrinted>
  <dcterms:created xsi:type="dcterms:W3CDTF">2014-12-02T19:25:45Z</dcterms:created>
  <dcterms:modified xsi:type="dcterms:W3CDTF">2023-04-01T02: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y fmtid="{D5CDD505-2E9C-101B-9397-08002B2CF9AE}" pid="3" name="MSIP_Label_4044bd30-2ed7-4c9d-9d12-46200872a97b_Enabled">
    <vt:lpwstr>true</vt:lpwstr>
  </property>
  <property fmtid="{D5CDD505-2E9C-101B-9397-08002B2CF9AE}" pid="4" name="MSIP_Label_4044bd30-2ed7-4c9d-9d12-46200872a97b_SetDate">
    <vt:lpwstr>2023-03-01T06:49:34Z</vt:lpwstr>
  </property>
  <property fmtid="{D5CDD505-2E9C-101B-9397-08002B2CF9AE}" pid="5" name="MSIP_Label_4044bd30-2ed7-4c9d-9d12-46200872a97b_Method">
    <vt:lpwstr>Standard</vt:lpwstr>
  </property>
  <property fmtid="{D5CDD505-2E9C-101B-9397-08002B2CF9AE}" pid="6" name="MSIP_Label_4044bd30-2ed7-4c9d-9d12-46200872a97b_Name">
    <vt:lpwstr>defa4170-0d19-0005-0004-bc88714345d2</vt:lpwstr>
  </property>
  <property fmtid="{D5CDD505-2E9C-101B-9397-08002B2CF9AE}" pid="7" name="MSIP_Label_4044bd30-2ed7-4c9d-9d12-46200872a97b_SiteId">
    <vt:lpwstr>4130bd39-7c53-419c-b1e5-8758d6d63f21</vt:lpwstr>
  </property>
  <property fmtid="{D5CDD505-2E9C-101B-9397-08002B2CF9AE}" pid="8" name="MSIP_Label_4044bd30-2ed7-4c9d-9d12-46200872a97b_ActionId">
    <vt:lpwstr>ed43dc8b-520d-4bec-8aa9-9aa4d175901d</vt:lpwstr>
  </property>
  <property fmtid="{D5CDD505-2E9C-101B-9397-08002B2CF9AE}" pid="9" name="MSIP_Label_4044bd30-2ed7-4c9d-9d12-46200872a97b_ContentBits">
    <vt:lpwstr>0</vt:lpwstr>
  </property>
</Properties>
</file>